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4" r:id="rId2"/>
    <p:sldId id="281" r:id="rId3"/>
    <p:sldId id="257" r:id="rId4"/>
    <p:sldId id="256" r:id="rId5"/>
    <p:sldId id="280" r:id="rId6"/>
    <p:sldId id="260" r:id="rId7"/>
    <p:sldId id="274" r:id="rId8"/>
    <p:sldId id="261" r:id="rId9"/>
    <p:sldId id="262" r:id="rId10"/>
    <p:sldId id="258" r:id="rId11"/>
    <p:sldId id="259" r:id="rId12"/>
    <p:sldId id="263" r:id="rId13"/>
    <p:sldId id="275" r:id="rId14"/>
    <p:sldId id="264" r:id="rId15"/>
    <p:sldId id="265" r:id="rId16"/>
    <p:sldId id="267" r:id="rId17"/>
    <p:sldId id="269" r:id="rId18"/>
    <p:sldId id="276" r:id="rId19"/>
    <p:sldId id="270" r:id="rId20"/>
    <p:sldId id="277" r:id="rId21"/>
    <p:sldId id="279" r:id="rId22"/>
    <p:sldId id="278" r:id="rId23"/>
    <p:sldId id="271" r:id="rId24"/>
    <p:sldId id="268" r:id="rId25"/>
    <p:sldId id="272" r:id="rId26"/>
    <p:sldId id="273" r:id="rId27"/>
    <p:sldId id="26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E25A98E-530E-4146-9BB9-8B5227817F94}">
          <p14:sldIdLst>
            <p14:sldId id="284"/>
            <p14:sldId id="281"/>
            <p14:sldId id="257"/>
            <p14:sldId id="256"/>
            <p14:sldId id="280"/>
            <p14:sldId id="260"/>
            <p14:sldId id="274"/>
          </p14:sldIdLst>
        </p14:section>
        <p14:section name="Config" id="{511DF35B-CDA9-4A77-A324-5DAED9AFD940}">
          <p14:sldIdLst>
            <p14:sldId id="261"/>
            <p14:sldId id="262"/>
          </p14:sldIdLst>
        </p14:section>
        <p14:section name="Backing Services" id="{17B0C2E0-07A7-4762-AE20-1E8F4205ABB5}">
          <p14:sldIdLst>
            <p14:sldId id="258"/>
            <p14:sldId id="259"/>
            <p14:sldId id="263"/>
          </p14:sldIdLst>
        </p14:section>
        <p14:section name="Processes" id="{F5630F9F-D937-45DC-953F-8C737E1F3B64}">
          <p14:sldIdLst>
            <p14:sldId id="275"/>
            <p14:sldId id="264"/>
          </p14:sldIdLst>
        </p14:section>
        <p14:section name="Port Binding" id="{22096FE9-AD0A-4584-BF2A-4031DA477496}">
          <p14:sldIdLst>
            <p14:sldId id="265"/>
            <p14:sldId id="267"/>
            <p14:sldId id="269"/>
            <p14:sldId id="276"/>
            <p14:sldId id="270"/>
            <p14:sldId id="277"/>
            <p14:sldId id="279"/>
            <p14:sldId id="278"/>
            <p14:sldId id="271"/>
            <p14:sldId id="268"/>
            <p14:sldId id="272"/>
            <p14:sldId id="273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kherjee, Ritam (GE Healthcare)" initials="MR(H" lastIdx="1" clrIdx="0">
    <p:extLst>
      <p:ext uri="{19B8F6BF-5375-455C-9EA6-DF929625EA0E}">
        <p15:presenceInfo xmlns:p15="http://schemas.microsoft.com/office/powerpoint/2012/main" userId="S::212701861@ge.com::d9041cb1-6274-453e-bb84-f1a588e65c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FFF7"/>
    <a:srgbClr val="B536DB"/>
    <a:srgbClr val="19FFC3"/>
    <a:srgbClr val="66FF33"/>
    <a:srgbClr val="C8DD01"/>
    <a:srgbClr val="203864"/>
    <a:srgbClr val="019EFF"/>
    <a:srgbClr val="E8FE16"/>
    <a:srgbClr val="A5A1F5"/>
    <a:srgbClr val="3E36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44" autoAdjust="0"/>
    <p:restoredTop sz="94660"/>
  </p:normalViewPr>
  <p:slideViewPr>
    <p:cSldViewPr>
      <p:cViewPr>
        <p:scale>
          <a:sx n="50" d="100"/>
          <a:sy n="50" d="100"/>
        </p:scale>
        <p:origin x="1154" y="838"/>
      </p:cViewPr>
      <p:guideLst>
        <p:guide orient="horz" pos="43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073203-8DE6-4BE5-A128-06542D6BD6C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D4A45E8-7819-46F0-9F89-9D14F34F5D83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680B62A0-946A-4B19-B8F3-AA6647E4018D}" type="parTrans" cxnId="{9BD8B0CB-2A25-44CC-95AB-9004550F4ABA}">
      <dgm:prSet/>
      <dgm:spPr/>
      <dgm:t>
        <a:bodyPr/>
        <a:lstStyle/>
        <a:p>
          <a:endParaRPr lang="en-IN"/>
        </a:p>
      </dgm:t>
    </dgm:pt>
    <dgm:pt modelId="{E627B580-9FFC-4035-9FE8-FD586DF0E4F7}" type="sibTrans" cxnId="{9BD8B0CB-2A25-44CC-95AB-9004550F4ABA}">
      <dgm:prSet/>
      <dgm:spPr/>
      <dgm:t>
        <a:bodyPr/>
        <a:lstStyle/>
        <a:p>
          <a:endParaRPr lang="en-IN"/>
        </a:p>
      </dgm:t>
    </dgm:pt>
    <dgm:pt modelId="{413915F5-1EDB-4223-886E-3E078F02D1BF}">
      <dgm:prSet/>
      <dgm:spPr/>
      <dgm:t>
        <a:bodyPr/>
        <a:lstStyle/>
        <a:p>
          <a:r>
            <a:rPr lang="en-IN" dirty="0"/>
            <a:t>Dev</a:t>
          </a:r>
        </a:p>
      </dgm:t>
    </dgm:pt>
    <dgm:pt modelId="{C02C0425-312F-4171-B242-C1982932216E}" type="parTrans" cxnId="{C32A2BC8-5FCE-4549-A611-7ED521512FBF}">
      <dgm:prSet/>
      <dgm:spPr/>
      <dgm:t>
        <a:bodyPr/>
        <a:lstStyle/>
        <a:p>
          <a:endParaRPr lang="en-IN"/>
        </a:p>
      </dgm:t>
    </dgm:pt>
    <dgm:pt modelId="{0B963B67-115C-435D-8C56-4AC21A090440}" type="sibTrans" cxnId="{C32A2BC8-5FCE-4549-A611-7ED521512FBF}">
      <dgm:prSet/>
      <dgm:spPr/>
      <dgm:t>
        <a:bodyPr/>
        <a:lstStyle/>
        <a:p>
          <a:endParaRPr lang="en-IN"/>
        </a:p>
      </dgm:t>
    </dgm:pt>
    <dgm:pt modelId="{827BE86D-6C46-421B-A137-C77D41661D7C}">
      <dgm:prSet/>
      <dgm:spPr/>
      <dgm:t>
        <a:bodyPr/>
        <a:lstStyle/>
        <a:p>
          <a:r>
            <a:rPr lang="en-IN"/>
            <a:t>UAT</a:t>
          </a:r>
        </a:p>
      </dgm:t>
    </dgm:pt>
    <dgm:pt modelId="{AC48DD34-E23D-4DD2-8DF0-E9721CE4A1F0}" type="parTrans" cxnId="{72EC6501-84AF-4BDD-B6AA-743A749160A6}">
      <dgm:prSet/>
      <dgm:spPr/>
      <dgm:t>
        <a:bodyPr/>
        <a:lstStyle/>
        <a:p>
          <a:endParaRPr lang="en-IN"/>
        </a:p>
      </dgm:t>
    </dgm:pt>
    <dgm:pt modelId="{AA7A27DE-9671-47A2-8BBA-2A57C9789E8E}" type="sibTrans" cxnId="{72EC6501-84AF-4BDD-B6AA-743A749160A6}">
      <dgm:prSet/>
      <dgm:spPr/>
      <dgm:t>
        <a:bodyPr/>
        <a:lstStyle/>
        <a:p>
          <a:endParaRPr lang="en-IN"/>
        </a:p>
      </dgm:t>
    </dgm:pt>
    <dgm:pt modelId="{A4F556E4-2F40-4223-ADEB-BA3D3C1780BE}" type="pres">
      <dgm:prSet presAssocID="{34073203-8DE6-4BE5-A128-06542D6BD6C4}" presName="linearFlow" presStyleCnt="0">
        <dgm:presLayoutVars>
          <dgm:dir/>
          <dgm:resizeHandles val="exact"/>
        </dgm:presLayoutVars>
      </dgm:prSet>
      <dgm:spPr/>
    </dgm:pt>
    <dgm:pt modelId="{A4A79317-5F3D-4B0D-9AC3-3945F344252F}" type="pres">
      <dgm:prSet presAssocID="{ED4A45E8-7819-46F0-9F89-9D14F34F5D83}" presName="composite" presStyleCnt="0"/>
      <dgm:spPr/>
    </dgm:pt>
    <dgm:pt modelId="{82EED5DD-D800-4271-91E0-F0C0D1D31119}" type="pres">
      <dgm:prSet presAssocID="{ED4A45E8-7819-46F0-9F89-9D14F34F5D83}" presName="imgShp" presStyleLbl="fgImgPlace1" presStyleIdx="0" presStyleCnt="3"/>
      <dgm:spPr/>
    </dgm:pt>
    <dgm:pt modelId="{2367C8E2-4F29-4C78-B8C9-FA489BB5DDEB}" type="pres">
      <dgm:prSet presAssocID="{ED4A45E8-7819-46F0-9F89-9D14F34F5D83}" presName="txShp" presStyleLbl="node1" presStyleIdx="0" presStyleCnt="3">
        <dgm:presLayoutVars>
          <dgm:bulletEnabled val="1"/>
        </dgm:presLayoutVars>
      </dgm:prSet>
      <dgm:spPr/>
    </dgm:pt>
    <dgm:pt modelId="{2CE603DB-AFC3-460A-A6B9-AB9EE1C283BD}" type="pres">
      <dgm:prSet presAssocID="{E627B580-9FFC-4035-9FE8-FD586DF0E4F7}" presName="spacing" presStyleCnt="0"/>
      <dgm:spPr/>
    </dgm:pt>
    <dgm:pt modelId="{A06A5BF8-5ADB-4F69-B275-5C4B3DFE4825}" type="pres">
      <dgm:prSet presAssocID="{413915F5-1EDB-4223-886E-3E078F02D1BF}" presName="composite" presStyleCnt="0"/>
      <dgm:spPr/>
    </dgm:pt>
    <dgm:pt modelId="{155BDDA0-008B-42F0-8165-A91C29C15BBE}" type="pres">
      <dgm:prSet presAssocID="{413915F5-1EDB-4223-886E-3E078F02D1BF}" presName="imgShp" presStyleLbl="fgImgPlace1" presStyleIdx="1" presStyleCnt="3"/>
      <dgm:spPr/>
    </dgm:pt>
    <dgm:pt modelId="{6DA6A563-4798-42BE-BE95-410423B610EB}" type="pres">
      <dgm:prSet presAssocID="{413915F5-1EDB-4223-886E-3E078F02D1BF}" presName="txShp" presStyleLbl="node1" presStyleIdx="1" presStyleCnt="3">
        <dgm:presLayoutVars>
          <dgm:bulletEnabled val="1"/>
        </dgm:presLayoutVars>
      </dgm:prSet>
      <dgm:spPr/>
    </dgm:pt>
    <dgm:pt modelId="{E06643C6-FE84-40AF-91A7-A3F57C75097B}" type="pres">
      <dgm:prSet presAssocID="{0B963B67-115C-435D-8C56-4AC21A090440}" presName="spacing" presStyleCnt="0"/>
      <dgm:spPr/>
    </dgm:pt>
    <dgm:pt modelId="{7E3D0745-F8BA-4084-AAFD-E49D7EC82038}" type="pres">
      <dgm:prSet presAssocID="{827BE86D-6C46-421B-A137-C77D41661D7C}" presName="composite" presStyleCnt="0"/>
      <dgm:spPr/>
    </dgm:pt>
    <dgm:pt modelId="{DE88FD75-0DAB-4C79-8466-98B97AC489A6}" type="pres">
      <dgm:prSet presAssocID="{827BE86D-6C46-421B-A137-C77D41661D7C}" presName="imgShp" presStyleLbl="fgImgPlace1" presStyleIdx="2" presStyleCnt="3"/>
      <dgm:spPr/>
    </dgm:pt>
    <dgm:pt modelId="{234A3D6A-1C7E-47E8-8151-EDD8070A50C4}" type="pres">
      <dgm:prSet presAssocID="{827BE86D-6C46-421B-A137-C77D41661D7C}" presName="txShp" presStyleLbl="node1" presStyleIdx="2" presStyleCnt="3" custLinFactNeighborX="562" custLinFactNeighborY="119">
        <dgm:presLayoutVars>
          <dgm:bulletEnabled val="1"/>
        </dgm:presLayoutVars>
      </dgm:prSet>
      <dgm:spPr/>
    </dgm:pt>
  </dgm:ptLst>
  <dgm:cxnLst>
    <dgm:cxn modelId="{72EC6501-84AF-4BDD-B6AA-743A749160A6}" srcId="{34073203-8DE6-4BE5-A128-06542D6BD6C4}" destId="{827BE86D-6C46-421B-A137-C77D41661D7C}" srcOrd="2" destOrd="0" parTransId="{AC48DD34-E23D-4DD2-8DF0-E9721CE4A1F0}" sibTransId="{AA7A27DE-9671-47A2-8BBA-2A57C9789E8E}"/>
    <dgm:cxn modelId="{8310ED3A-2275-4661-8ED7-9166C991FAF3}" type="presOf" srcId="{34073203-8DE6-4BE5-A128-06542D6BD6C4}" destId="{A4F556E4-2F40-4223-ADEB-BA3D3C1780BE}" srcOrd="0" destOrd="0" presId="urn:microsoft.com/office/officeart/2005/8/layout/vList3"/>
    <dgm:cxn modelId="{387D5445-E2BE-4EBC-A9DF-C810810D10EC}" type="presOf" srcId="{827BE86D-6C46-421B-A137-C77D41661D7C}" destId="{234A3D6A-1C7E-47E8-8151-EDD8070A50C4}" srcOrd="0" destOrd="0" presId="urn:microsoft.com/office/officeart/2005/8/layout/vList3"/>
    <dgm:cxn modelId="{2196AFB4-8352-476D-BDED-80D68196B99E}" type="presOf" srcId="{ED4A45E8-7819-46F0-9F89-9D14F34F5D83}" destId="{2367C8E2-4F29-4C78-B8C9-FA489BB5DDEB}" srcOrd="0" destOrd="0" presId="urn:microsoft.com/office/officeart/2005/8/layout/vList3"/>
    <dgm:cxn modelId="{C32A2BC8-5FCE-4549-A611-7ED521512FBF}" srcId="{34073203-8DE6-4BE5-A128-06542D6BD6C4}" destId="{413915F5-1EDB-4223-886E-3E078F02D1BF}" srcOrd="1" destOrd="0" parTransId="{C02C0425-312F-4171-B242-C1982932216E}" sibTransId="{0B963B67-115C-435D-8C56-4AC21A090440}"/>
    <dgm:cxn modelId="{9BD8B0CB-2A25-44CC-95AB-9004550F4ABA}" srcId="{34073203-8DE6-4BE5-A128-06542D6BD6C4}" destId="{ED4A45E8-7819-46F0-9F89-9D14F34F5D83}" srcOrd="0" destOrd="0" parTransId="{680B62A0-946A-4B19-B8F3-AA6647E4018D}" sibTransId="{E627B580-9FFC-4035-9FE8-FD586DF0E4F7}"/>
    <dgm:cxn modelId="{639527E1-60E5-4905-AFF4-04CD30A67741}" type="presOf" srcId="{413915F5-1EDB-4223-886E-3E078F02D1BF}" destId="{6DA6A563-4798-42BE-BE95-410423B610EB}" srcOrd="0" destOrd="0" presId="urn:microsoft.com/office/officeart/2005/8/layout/vList3"/>
    <dgm:cxn modelId="{F48E697A-1EFB-42C0-8A71-3537AB198FA7}" type="presParOf" srcId="{A4F556E4-2F40-4223-ADEB-BA3D3C1780BE}" destId="{A4A79317-5F3D-4B0D-9AC3-3945F344252F}" srcOrd="0" destOrd="0" presId="urn:microsoft.com/office/officeart/2005/8/layout/vList3"/>
    <dgm:cxn modelId="{ED44060F-8813-4719-B7A5-7DF2BB7E64AB}" type="presParOf" srcId="{A4A79317-5F3D-4B0D-9AC3-3945F344252F}" destId="{82EED5DD-D800-4271-91E0-F0C0D1D31119}" srcOrd="0" destOrd="0" presId="urn:microsoft.com/office/officeart/2005/8/layout/vList3"/>
    <dgm:cxn modelId="{1003801D-2DAC-43CF-9C3B-1BE3898D0E1F}" type="presParOf" srcId="{A4A79317-5F3D-4B0D-9AC3-3945F344252F}" destId="{2367C8E2-4F29-4C78-B8C9-FA489BB5DDEB}" srcOrd="1" destOrd="0" presId="urn:microsoft.com/office/officeart/2005/8/layout/vList3"/>
    <dgm:cxn modelId="{4D9B1EF8-90AA-4881-ACB5-535AA8FAEB25}" type="presParOf" srcId="{A4F556E4-2F40-4223-ADEB-BA3D3C1780BE}" destId="{2CE603DB-AFC3-460A-A6B9-AB9EE1C283BD}" srcOrd="1" destOrd="0" presId="urn:microsoft.com/office/officeart/2005/8/layout/vList3"/>
    <dgm:cxn modelId="{7A16E792-5C8C-4B76-A259-2EFC70A71656}" type="presParOf" srcId="{A4F556E4-2F40-4223-ADEB-BA3D3C1780BE}" destId="{A06A5BF8-5ADB-4F69-B275-5C4B3DFE4825}" srcOrd="2" destOrd="0" presId="urn:microsoft.com/office/officeart/2005/8/layout/vList3"/>
    <dgm:cxn modelId="{8B714C47-595D-42F4-8F1D-C21AAC7C658D}" type="presParOf" srcId="{A06A5BF8-5ADB-4F69-B275-5C4B3DFE4825}" destId="{155BDDA0-008B-42F0-8165-A91C29C15BBE}" srcOrd="0" destOrd="0" presId="urn:microsoft.com/office/officeart/2005/8/layout/vList3"/>
    <dgm:cxn modelId="{846DC021-EE23-43FC-A528-6965234F3C85}" type="presParOf" srcId="{A06A5BF8-5ADB-4F69-B275-5C4B3DFE4825}" destId="{6DA6A563-4798-42BE-BE95-410423B610EB}" srcOrd="1" destOrd="0" presId="urn:microsoft.com/office/officeart/2005/8/layout/vList3"/>
    <dgm:cxn modelId="{0D6D7A9F-3DFB-4A26-BFFA-D0D49F410756}" type="presParOf" srcId="{A4F556E4-2F40-4223-ADEB-BA3D3C1780BE}" destId="{E06643C6-FE84-40AF-91A7-A3F57C75097B}" srcOrd="3" destOrd="0" presId="urn:microsoft.com/office/officeart/2005/8/layout/vList3"/>
    <dgm:cxn modelId="{6C307063-CBFA-49AA-94F7-EAE7AE781B9E}" type="presParOf" srcId="{A4F556E4-2F40-4223-ADEB-BA3D3C1780BE}" destId="{7E3D0745-F8BA-4084-AAFD-E49D7EC82038}" srcOrd="4" destOrd="0" presId="urn:microsoft.com/office/officeart/2005/8/layout/vList3"/>
    <dgm:cxn modelId="{7CB76078-9E93-4A32-85C1-CCB77FB07093}" type="presParOf" srcId="{7E3D0745-F8BA-4084-AAFD-E49D7EC82038}" destId="{DE88FD75-0DAB-4C79-8466-98B97AC489A6}" srcOrd="0" destOrd="0" presId="urn:microsoft.com/office/officeart/2005/8/layout/vList3"/>
    <dgm:cxn modelId="{E7619444-1D7C-4E0F-AC8C-66398BAC9A72}" type="presParOf" srcId="{7E3D0745-F8BA-4084-AAFD-E49D7EC82038}" destId="{234A3D6A-1C7E-47E8-8151-EDD8070A50C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00C6CA0-52BF-4808-AD5D-034723F91D4C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FBBE5B46-77BC-44D3-B800-413CAF2A1883}">
      <dgm:prSet phldrT="[Text]"/>
      <dgm:spPr/>
      <dgm:t>
        <a:bodyPr/>
        <a:lstStyle/>
        <a:p>
          <a:r>
            <a:rPr lang="en-IN" dirty="0"/>
            <a:t>Running Batch Job</a:t>
          </a:r>
        </a:p>
      </dgm:t>
    </dgm:pt>
    <dgm:pt modelId="{2FE4CADA-62D6-4166-AB55-DAE2CBBBB7AC}" type="parTrans" cxnId="{6CBBC6DF-EFD9-4489-84C2-8DB42779FC5B}">
      <dgm:prSet/>
      <dgm:spPr/>
      <dgm:t>
        <a:bodyPr/>
        <a:lstStyle/>
        <a:p>
          <a:endParaRPr lang="en-IN"/>
        </a:p>
      </dgm:t>
    </dgm:pt>
    <dgm:pt modelId="{93D7BC39-1A41-415F-8643-A9852DCA1FDA}" type="sibTrans" cxnId="{6CBBC6DF-EFD9-4489-84C2-8DB42779FC5B}">
      <dgm:prSet/>
      <dgm:spPr/>
      <dgm:t>
        <a:bodyPr/>
        <a:lstStyle/>
        <a:p>
          <a:r>
            <a:rPr lang="en-IN" dirty="0"/>
            <a:t>Report generate</a:t>
          </a:r>
        </a:p>
      </dgm:t>
    </dgm:pt>
    <dgm:pt modelId="{333F68E3-22F8-47FB-9C98-9A1BA0FC9138}">
      <dgm:prSet phldrT="[Text]" phldr="1"/>
      <dgm:spPr/>
      <dgm:t>
        <a:bodyPr/>
        <a:lstStyle/>
        <a:p>
          <a:endParaRPr lang="en-IN" dirty="0"/>
        </a:p>
      </dgm:t>
    </dgm:pt>
    <dgm:pt modelId="{32F429D3-5C8B-4E38-BE65-F0D697DEA602}" type="parTrans" cxnId="{C482CCF6-FA6E-452C-85C1-7BF0F930C89F}">
      <dgm:prSet/>
      <dgm:spPr/>
      <dgm:t>
        <a:bodyPr/>
        <a:lstStyle/>
        <a:p>
          <a:endParaRPr lang="en-IN"/>
        </a:p>
      </dgm:t>
    </dgm:pt>
    <dgm:pt modelId="{5B2E53C7-643B-4839-8432-876E89B56B5B}" type="sibTrans" cxnId="{C482CCF6-FA6E-452C-85C1-7BF0F930C89F}">
      <dgm:prSet/>
      <dgm:spPr/>
      <dgm:t>
        <a:bodyPr/>
        <a:lstStyle/>
        <a:p>
          <a:endParaRPr lang="en-IN"/>
        </a:p>
      </dgm:t>
    </dgm:pt>
    <dgm:pt modelId="{B40A3E8D-2A42-41AE-BE73-8B87B5232575}">
      <dgm:prSet phldrT="[Text]"/>
      <dgm:spPr/>
      <dgm:t>
        <a:bodyPr/>
        <a:lstStyle/>
        <a:p>
          <a:r>
            <a:rPr lang="en-IN" dirty="0"/>
            <a:t>Records inspection</a:t>
          </a:r>
        </a:p>
      </dgm:t>
    </dgm:pt>
    <dgm:pt modelId="{6613FEB5-AE2E-4155-AF15-44CE0ED875D0}" type="parTrans" cxnId="{CEB81CC9-325F-48DF-BCA7-95105D6ACF23}">
      <dgm:prSet/>
      <dgm:spPr/>
      <dgm:t>
        <a:bodyPr/>
        <a:lstStyle/>
        <a:p>
          <a:endParaRPr lang="en-IN"/>
        </a:p>
      </dgm:t>
    </dgm:pt>
    <dgm:pt modelId="{AE33567C-D4A2-4308-86F0-7A66318BA617}" type="sibTrans" cxnId="{CEB81CC9-325F-48DF-BCA7-95105D6ACF23}">
      <dgm:prSet/>
      <dgm:spPr/>
      <dgm:t>
        <a:bodyPr/>
        <a:lstStyle/>
        <a:p>
          <a:r>
            <a:rPr lang="en-IN" dirty="0"/>
            <a:t>Clean-up Cache</a:t>
          </a:r>
        </a:p>
      </dgm:t>
    </dgm:pt>
    <dgm:pt modelId="{1C8DC1EE-C225-4B6A-96ED-A015D1837CA1}">
      <dgm:prSet phldrT="[Text]" custT="1"/>
      <dgm:spPr/>
      <dgm:t>
        <a:bodyPr/>
        <a:lstStyle/>
        <a:p>
          <a:r>
            <a:rPr lang="en-IN" sz="1500" dirty="0">
              <a:solidFill>
                <a:srgbClr val="89FFF7"/>
              </a:solidFill>
            </a:rPr>
            <a:t>Administrative</a:t>
          </a:r>
        </a:p>
      </dgm:t>
    </dgm:pt>
    <dgm:pt modelId="{801BD89D-9315-430F-81A5-D1D2AF616C6A}" type="parTrans" cxnId="{8B4A6B8A-04EF-4409-A75C-0B8B5A0CF20F}">
      <dgm:prSet/>
      <dgm:spPr/>
      <dgm:t>
        <a:bodyPr/>
        <a:lstStyle/>
        <a:p>
          <a:endParaRPr lang="en-IN"/>
        </a:p>
      </dgm:t>
    </dgm:pt>
    <dgm:pt modelId="{4F91FBAC-F62B-4E3B-86DE-5D5A3675F12A}" type="sibTrans" cxnId="{8B4A6B8A-04EF-4409-A75C-0B8B5A0CF20F}">
      <dgm:prSet/>
      <dgm:spPr/>
      <dgm:t>
        <a:bodyPr/>
        <a:lstStyle/>
        <a:p>
          <a:endParaRPr lang="en-IN"/>
        </a:p>
      </dgm:t>
    </dgm:pt>
    <dgm:pt modelId="{C5219E1E-3794-4EA9-BD60-C82224F87A69}">
      <dgm:prSet phldrT="[Text]"/>
      <dgm:spPr/>
      <dgm:t>
        <a:bodyPr/>
        <a:lstStyle/>
        <a:p>
          <a:r>
            <a:rPr lang="en-IN" dirty="0"/>
            <a:t>Check database</a:t>
          </a:r>
        </a:p>
      </dgm:t>
    </dgm:pt>
    <dgm:pt modelId="{C3403684-5A2A-4486-BABE-9C4211B66FAE}" type="parTrans" cxnId="{5E0C1806-E5EF-4253-B1F4-C7BAEE17C910}">
      <dgm:prSet/>
      <dgm:spPr/>
      <dgm:t>
        <a:bodyPr/>
        <a:lstStyle/>
        <a:p>
          <a:endParaRPr lang="en-IN"/>
        </a:p>
      </dgm:t>
    </dgm:pt>
    <dgm:pt modelId="{31754799-B28B-4E7B-951B-A1794550DA5E}" type="sibTrans" cxnId="{5E0C1806-E5EF-4253-B1F4-C7BAEE17C910}">
      <dgm:prSet/>
      <dgm:spPr/>
      <dgm:t>
        <a:bodyPr/>
        <a:lstStyle/>
        <a:p>
          <a:r>
            <a:rPr lang="en-IN" dirty="0"/>
            <a:t>Asynchronous method call</a:t>
          </a:r>
        </a:p>
      </dgm:t>
    </dgm:pt>
    <dgm:pt modelId="{E455C159-8CE2-4444-9310-A0AD60B9F4D5}">
      <dgm:prSet custT="1"/>
      <dgm:spPr/>
      <dgm:t>
        <a:bodyPr/>
        <a:lstStyle/>
        <a:p>
          <a:r>
            <a:rPr lang="en-IN" sz="1500" dirty="0">
              <a:solidFill>
                <a:srgbClr val="89FFF7"/>
              </a:solidFill>
            </a:rPr>
            <a:t>task</a:t>
          </a:r>
        </a:p>
      </dgm:t>
    </dgm:pt>
    <dgm:pt modelId="{C2700C74-DF68-4A2F-B5C1-6A10EB2EC8BF}" type="parTrans" cxnId="{04BE6E09-C718-45ED-BD0F-274EC64846C4}">
      <dgm:prSet/>
      <dgm:spPr/>
      <dgm:t>
        <a:bodyPr/>
        <a:lstStyle/>
        <a:p>
          <a:endParaRPr lang="en-IN"/>
        </a:p>
      </dgm:t>
    </dgm:pt>
    <dgm:pt modelId="{FBE5CCA9-8A8D-45F5-A456-650103FD9652}" type="sibTrans" cxnId="{04BE6E09-C718-45ED-BD0F-274EC64846C4}">
      <dgm:prSet/>
      <dgm:spPr/>
      <dgm:t>
        <a:bodyPr/>
        <a:lstStyle/>
        <a:p>
          <a:endParaRPr lang="en-IN"/>
        </a:p>
      </dgm:t>
    </dgm:pt>
    <dgm:pt modelId="{6770A2B8-D6AE-49DB-B550-11AA5AB74D4A}" type="pres">
      <dgm:prSet presAssocID="{A00C6CA0-52BF-4808-AD5D-034723F91D4C}" presName="Name0" presStyleCnt="0">
        <dgm:presLayoutVars>
          <dgm:chMax/>
          <dgm:chPref/>
          <dgm:dir/>
          <dgm:animLvl val="lvl"/>
        </dgm:presLayoutVars>
      </dgm:prSet>
      <dgm:spPr/>
    </dgm:pt>
    <dgm:pt modelId="{7DAA452E-B6D7-4E4B-B7D8-EA25FF3D670F}" type="pres">
      <dgm:prSet presAssocID="{FBBE5B46-77BC-44D3-B800-413CAF2A1883}" presName="composite" presStyleCnt="0"/>
      <dgm:spPr/>
    </dgm:pt>
    <dgm:pt modelId="{FE98F959-8F79-4928-914A-2AA8928AFEE9}" type="pres">
      <dgm:prSet presAssocID="{FBBE5B46-77BC-44D3-B800-413CAF2A1883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6EED286F-3A53-4C65-AF94-AF298584AA81}" type="pres">
      <dgm:prSet presAssocID="{FBBE5B46-77BC-44D3-B800-413CAF2A1883}" presName="Childtext1" presStyleLbl="revTx" presStyleIdx="0" presStyleCnt="3" custLinFactY="58331" custLinFactNeighborX="-49263" custLinFactNeighborY="100000">
        <dgm:presLayoutVars>
          <dgm:chMax val="0"/>
          <dgm:chPref val="0"/>
          <dgm:bulletEnabled val="1"/>
        </dgm:presLayoutVars>
      </dgm:prSet>
      <dgm:spPr/>
    </dgm:pt>
    <dgm:pt modelId="{EA972509-D7DB-49BF-89BC-E24937922D64}" type="pres">
      <dgm:prSet presAssocID="{FBBE5B46-77BC-44D3-B800-413CAF2A1883}" presName="BalanceSpacing" presStyleCnt="0"/>
      <dgm:spPr/>
    </dgm:pt>
    <dgm:pt modelId="{996AC25E-CE63-4764-9342-B2A89FC24746}" type="pres">
      <dgm:prSet presAssocID="{FBBE5B46-77BC-44D3-B800-413CAF2A1883}" presName="BalanceSpacing1" presStyleCnt="0"/>
      <dgm:spPr/>
    </dgm:pt>
    <dgm:pt modelId="{DBBA8E4C-45EA-4067-B384-BA3EB2EF77D7}" type="pres">
      <dgm:prSet presAssocID="{93D7BC39-1A41-415F-8643-A9852DCA1FDA}" presName="Accent1Text" presStyleLbl="node1" presStyleIdx="1" presStyleCnt="6"/>
      <dgm:spPr/>
    </dgm:pt>
    <dgm:pt modelId="{84DCC2C3-AADE-46A2-9C94-8BF6FB85E21B}" type="pres">
      <dgm:prSet presAssocID="{93D7BC39-1A41-415F-8643-A9852DCA1FDA}" presName="spaceBetweenRectangles" presStyleCnt="0"/>
      <dgm:spPr/>
    </dgm:pt>
    <dgm:pt modelId="{FAD71CC6-41EB-45AE-959C-131ED47799A5}" type="pres">
      <dgm:prSet presAssocID="{B40A3E8D-2A42-41AE-BE73-8B87B5232575}" presName="composite" presStyleCnt="0"/>
      <dgm:spPr/>
    </dgm:pt>
    <dgm:pt modelId="{F94D12F6-F126-40B4-9C04-FAA643890473}" type="pres">
      <dgm:prSet presAssocID="{B40A3E8D-2A42-41AE-BE73-8B87B5232575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576AB72B-CCAF-4A81-B67C-CA17B481EFEE}" type="pres">
      <dgm:prSet presAssocID="{B40A3E8D-2A42-41AE-BE73-8B87B5232575}" presName="Childtext1" presStyleLbl="revTx" presStyleIdx="1" presStyleCnt="3" custScaleX="108220" custLinFactNeighborX="-31549" custLinFactNeighborY="2">
        <dgm:presLayoutVars>
          <dgm:chMax val="0"/>
          <dgm:chPref val="0"/>
          <dgm:bulletEnabled val="1"/>
        </dgm:presLayoutVars>
      </dgm:prSet>
      <dgm:spPr/>
    </dgm:pt>
    <dgm:pt modelId="{E99BCAAE-3170-41EF-B66F-222C5CD634D8}" type="pres">
      <dgm:prSet presAssocID="{B40A3E8D-2A42-41AE-BE73-8B87B5232575}" presName="BalanceSpacing" presStyleCnt="0"/>
      <dgm:spPr/>
    </dgm:pt>
    <dgm:pt modelId="{CBC8AE73-4BFB-4598-93DA-9747C9688936}" type="pres">
      <dgm:prSet presAssocID="{B40A3E8D-2A42-41AE-BE73-8B87B5232575}" presName="BalanceSpacing1" presStyleCnt="0"/>
      <dgm:spPr/>
    </dgm:pt>
    <dgm:pt modelId="{544991FC-D38A-4CD2-8205-9FF5517B468C}" type="pres">
      <dgm:prSet presAssocID="{AE33567C-D4A2-4308-86F0-7A66318BA617}" presName="Accent1Text" presStyleLbl="node1" presStyleIdx="3" presStyleCnt="6"/>
      <dgm:spPr/>
    </dgm:pt>
    <dgm:pt modelId="{D0C46D5E-F832-47AB-A77D-4B8CD76D2A63}" type="pres">
      <dgm:prSet presAssocID="{AE33567C-D4A2-4308-86F0-7A66318BA617}" presName="spaceBetweenRectangles" presStyleCnt="0"/>
      <dgm:spPr/>
    </dgm:pt>
    <dgm:pt modelId="{8CDE364D-6D56-49FF-9294-D1EE3CB73726}" type="pres">
      <dgm:prSet presAssocID="{C5219E1E-3794-4EA9-BD60-C82224F87A69}" presName="composite" presStyleCnt="0"/>
      <dgm:spPr/>
    </dgm:pt>
    <dgm:pt modelId="{44797733-1BBC-411C-92F4-B700C3D4F95C}" type="pres">
      <dgm:prSet presAssocID="{C5219E1E-3794-4EA9-BD60-C82224F87A69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E76D2295-EF18-47AD-8A10-EBBEC9CE0B8B}" type="pres">
      <dgm:prSet presAssocID="{C5219E1E-3794-4EA9-BD60-C82224F87A69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6C1BE032-4A7D-45E3-AEF7-B69744690395}" type="pres">
      <dgm:prSet presAssocID="{C5219E1E-3794-4EA9-BD60-C82224F87A69}" presName="BalanceSpacing" presStyleCnt="0"/>
      <dgm:spPr/>
    </dgm:pt>
    <dgm:pt modelId="{A3310B3D-69EA-4F81-BE6B-51E692E2AAB1}" type="pres">
      <dgm:prSet presAssocID="{C5219E1E-3794-4EA9-BD60-C82224F87A69}" presName="BalanceSpacing1" presStyleCnt="0"/>
      <dgm:spPr/>
    </dgm:pt>
    <dgm:pt modelId="{1718F5E0-FF9D-4902-8198-A6FA96AA2B57}" type="pres">
      <dgm:prSet presAssocID="{31754799-B28B-4E7B-951B-A1794550DA5E}" presName="Accent1Text" presStyleLbl="node1" presStyleIdx="5" presStyleCnt="6"/>
      <dgm:spPr/>
    </dgm:pt>
  </dgm:ptLst>
  <dgm:cxnLst>
    <dgm:cxn modelId="{5E0C1806-E5EF-4253-B1F4-C7BAEE17C910}" srcId="{A00C6CA0-52BF-4808-AD5D-034723F91D4C}" destId="{C5219E1E-3794-4EA9-BD60-C82224F87A69}" srcOrd="2" destOrd="0" parTransId="{C3403684-5A2A-4486-BABE-9C4211B66FAE}" sibTransId="{31754799-B28B-4E7B-951B-A1794550DA5E}"/>
    <dgm:cxn modelId="{04BE6E09-C718-45ED-BD0F-274EC64846C4}" srcId="{B40A3E8D-2A42-41AE-BE73-8B87B5232575}" destId="{E455C159-8CE2-4444-9310-A0AD60B9F4D5}" srcOrd="1" destOrd="0" parTransId="{C2700C74-DF68-4A2F-B5C1-6A10EB2EC8BF}" sibTransId="{FBE5CCA9-8A8D-45F5-A456-650103FD9652}"/>
    <dgm:cxn modelId="{2181CC0C-E964-41E7-B6EC-E196FE90DF2D}" type="presOf" srcId="{31754799-B28B-4E7B-951B-A1794550DA5E}" destId="{1718F5E0-FF9D-4902-8198-A6FA96AA2B57}" srcOrd="0" destOrd="0" presId="urn:microsoft.com/office/officeart/2008/layout/AlternatingHexagons"/>
    <dgm:cxn modelId="{E8367B16-4D44-4335-B73D-C97E2958F862}" type="presOf" srcId="{AE33567C-D4A2-4308-86F0-7A66318BA617}" destId="{544991FC-D38A-4CD2-8205-9FF5517B468C}" srcOrd="0" destOrd="0" presId="urn:microsoft.com/office/officeart/2008/layout/AlternatingHexagons"/>
    <dgm:cxn modelId="{B3218926-3818-41F4-9D50-0F6FA1D50315}" type="presOf" srcId="{A00C6CA0-52BF-4808-AD5D-034723F91D4C}" destId="{6770A2B8-D6AE-49DB-B550-11AA5AB74D4A}" srcOrd="0" destOrd="0" presId="urn:microsoft.com/office/officeart/2008/layout/AlternatingHexagons"/>
    <dgm:cxn modelId="{E57B3F61-B013-42C5-9D75-F6799A47B72D}" type="presOf" srcId="{B40A3E8D-2A42-41AE-BE73-8B87B5232575}" destId="{F94D12F6-F126-40B4-9C04-FAA643890473}" srcOrd="0" destOrd="0" presId="urn:microsoft.com/office/officeart/2008/layout/AlternatingHexagons"/>
    <dgm:cxn modelId="{1D946665-B6CF-46B0-8169-21B8A71D44E3}" type="presOf" srcId="{FBBE5B46-77BC-44D3-B800-413CAF2A1883}" destId="{FE98F959-8F79-4928-914A-2AA8928AFEE9}" srcOrd="0" destOrd="0" presId="urn:microsoft.com/office/officeart/2008/layout/AlternatingHexagons"/>
    <dgm:cxn modelId="{B1249774-E9B5-4761-9367-DDFECCD9164B}" type="presOf" srcId="{E455C159-8CE2-4444-9310-A0AD60B9F4D5}" destId="{576AB72B-CCAF-4A81-B67C-CA17B481EFEE}" srcOrd="0" destOrd="1" presId="urn:microsoft.com/office/officeart/2008/layout/AlternatingHexagons"/>
    <dgm:cxn modelId="{3511CF76-C993-4005-BAE0-5D70DA21F9BE}" type="presOf" srcId="{93D7BC39-1A41-415F-8643-A9852DCA1FDA}" destId="{DBBA8E4C-45EA-4067-B384-BA3EB2EF77D7}" srcOrd="0" destOrd="0" presId="urn:microsoft.com/office/officeart/2008/layout/AlternatingHexagons"/>
    <dgm:cxn modelId="{8B4A6B8A-04EF-4409-A75C-0B8B5A0CF20F}" srcId="{B40A3E8D-2A42-41AE-BE73-8B87B5232575}" destId="{1C8DC1EE-C225-4B6A-96ED-A015D1837CA1}" srcOrd="0" destOrd="0" parTransId="{801BD89D-9315-430F-81A5-D1D2AF616C6A}" sibTransId="{4F91FBAC-F62B-4E3B-86DE-5D5A3675F12A}"/>
    <dgm:cxn modelId="{5F5F37B8-D574-4AA7-BB5F-13CA5910829B}" type="presOf" srcId="{C5219E1E-3794-4EA9-BD60-C82224F87A69}" destId="{44797733-1BBC-411C-92F4-B700C3D4F95C}" srcOrd="0" destOrd="0" presId="urn:microsoft.com/office/officeart/2008/layout/AlternatingHexagons"/>
    <dgm:cxn modelId="{CEB81CC9-325F-48DF-BCA7-95105D6ACF23}" srcId="{A00C6CA0-52BF-4808-AD5D-034723F91D4C}" destId="{B40A3E8D-2A42-41AE-BE73-8B87B5232575}" srcOrd="1" destOrd="0" parTransId="{6613FEB5-AE2E-4155-AF15-44CE0ED875D0}" sibTransId="{AE33567C-D4A2-4308-86F0-7A66318BA617}"/>
    <dgm:cxn modelId="{674D1BD6-58B7-4BCB-881B-418D18D90AC7}" type="presOf" srcId="{333F68E3-22F8-47FB-9C98-9A1BA0FC9138}" destId="{6EED286F-3A53-4C65-AF94-AF298584AA81}" srcOrd="0" destOrd="0" presId="urn:microsoft.com/office/officeart/2008/layout/AlternatingHexagons"/>
    <dgm:cxn modelId="{6CBBC6DF-EFD9-4489-84C2-8DB42779FC5B}" srcId="{A00C6CA0-52BF-4808-AD5D-034723F91D4C}" destId="{FBBE5B46-77BC-44D3-B800-413CAF2A1883}" srcOrd="0" destOrd="0" parTransId="{2FE4CADA-62D6-4166-AB55-DAE2CBBBB7AC}" sibTransId="{93D7BC39-1A41-415F-8643-A9852DCA1FDA}"/>
    <dgm:cxn modelId="{DB7E40F5-A202-481E-ACE1-E3DC11D51540}" type="presOf" srcId="{1C8DC1EE-C225-4B6A-96ED-A015D1837CA1}" destId="{576AB72B-CCAF-4A81-B67C-CA17B481EFEE}" srcOrd="0" destOrd="0" presId="urn:microsoft.com/office/officeart/2008/layout/AlternatingHexagons"/>
    <dgm:cxn modelId="{C482CCF6-FA6E-452C-85C1-7BF0F930C89F}" srcId="{FBBE5B46-77BC-44D3-B800-413CAF2A1883}" destId="{333F68E3-22F8-47FB-9C98-9A1BA0FC9138}" srcOrd="0" destOrd="0" parTransId="{32F429D3-5C8B-4E38-BE65-F0D697DEA602}" sibTransId="{5B2E53C7-643B-4839-8432-876E89B56B5B}"/>
    <dgm:cxn modelId="{31660958-BFAF-4666-855B-9534ACB84B4A}" type="presParOf" srcId="{6770A2B8-D6AE-49DB-B550-11AA5AB74D4A}" destId="{7DAA452E-B6D7-4E4B-B7D8-EA25FF3D670F}" srcOrd="0" destOrd="0" presId="urn:microsoft.com/office/officeart/2008/layout/AlternatingHexagons"/>
    <dgm:cxn modelId="{C514E932-A104-438E-AE25-325552D82ECA}" type="presParOf" srcId="{7DAA452E-B6D7-4E4B-B7D8-EA25FF3D670F}" destId="{FE98F959-8F79-4928-914A-2AA8928AFEE9}" srcOrd="0" destOrd="0" presId="urn:microsoft.com/office/officeart/2008/layout/AlternatingHexagons"/>
    <dgm:cxn modelId="{5BC269F1-3C13-4180-8F03-B1C8F9BED0DF}" type="presParOf" srcId="{7DAA452E-B6D7-4E4B-B7D8-EA25FF3D670F}" destId="{6EED286F-3A53-4C65-AF94-AF298584AA81}" srcOrd="1" destOrd="0" presId="urn:microsoft.com/office/officeart/2008/layout/AlternatingHexagons"/>
    <dgm:cxn modelId="{D515989A-4925-4ED3-9D0F-B968D28CCE71}" type="presParOf" srcId="{7DAA452E-B6D7-4E4B-B7D8-EA25FF3D670F}" destId="{EA972509-D7DB-49BF-89BC-E24937922D64}" srcOrd="2" destOrd="0" presId="urn:microsoft.com/office/officeart/2008/layout/AlternatingHexagons"/>
    <dgm:cxn modelId="{F85080A1-28DC-48E1-8652-237E7E254CAC}" type="presParOf" srcId="{7DAA452E-B6D7-4E4B-B7D8-EA25FF3D670F}" destId="{996AC25E-CE63-4764-9342-B2A89FC24746}" srcOrd="3" destOrd="0" presId="urn:microsoft.com/office/officeart/2008/layout/AlternatingHexagons"/>
    <dgm:cxn modelId="{71360573-39DA-42F1-894D-E5EA5491E619}" type="presParOf" srcId="{7DAA452E-B6D7-4E4B-B7D8-EA25FF3D670F}" destId="{DBBA8E4C-45EA-4067-B384-BA3EB2EF77D7}" srcOrd="4" destOrd="0" presId="urn:microsoft.com/office/officeart/2008/layout/AlternatingHexagons"/>
    <dgm:cxn modelId="{A61B3F2D-E273-4E80-945E-8239FD534529}" type="presParOf" srcId="{6770A2B8-D6AE-49DB-B550-11AA5AB74D4A}" destId="{84DCC2C3-AADE-46A2-9C94-8BF6FB85E21B}" srcOrd="1" destOrd="0" presId="urn:microsoft.com/office/officeart/2008/layout/AlternatingHexagons"/>
    <dgm:cxn modelId="{CC548BC6-0B42-4B2E-958D-56D4DAFACA7E}" type="presParOf" srcId="{6770A2B8-D6AE-49DB-B550-11AA5AB74D4A}" destId="{FAD71CC6-41EB-45AE-959C-131ED47799A5}" srcOrd="2" destOrd="0" presId="urn:microsoft.com/office/officeart/2008/layout/AlternatingHexagons"/>
    <dgm:cxn modelId="{E2E8AB66-8327-4333-8AAE-DC98F7E372DF}" type="presParOf" srcId="{FAD71CC6-41EB-45AE-959C-131ED47799A5}" destId="{F94D12F6-F126-40B4-9C04-FAA643890473}" srcOrd="0" destOrd="0" presId="urn:microsoft.com/office/officeart/2008/layout/AlternatingHexagons"/>
    <dgm:cxn modelId="{6C840F90-938B-4DFB-A43E-3B73A129394E}" type="presParOf" srcId="{FAD71CC6-41EB-45AE-959C-131ED47799A5}" destId="{576AB72B-CCAF-4A81-B67C-CA17B481EFEE}" srcOrd="1" destOrd="0" presId="urn:microsoft.com/office/officeart/2008/layout/AlternatingHexagons"/>
    <dgm:cxn modelId="{A932C6EE-3163-4C9D-BBE1-68C240B04797}" type="presParOf" srcId="{FAD71CC6-41EB-45AE-959C-131ED47799A5}" destId="{E99BCAAE-3170-41EF-B66F-222C5CD634D8}" srcOrd="2" destOrd="0" presId="urn:microsoft.com/office/officeart/2008/layout/AlternatingHexagons"/>
    <dgm:cxn modelId="{2A6F976C-65FB-44D4-8FD2-29AEFB44352E}" type="presParOf" srcId="{FAD71CC6-41EB-45AE-959C-131ED47799A5}" destId="{CBC8AE73-4BFB-4598-93DA-9747C9688936}" srcOrd="3" destOrd="0" presId="urn:microsoft.com/office/officeart/2008/layout/AlternatingHexagons"/>
    <dgm:cxn modelId="{D4BA1F13-2234-4D36-B9BF-524AC91777DD}" type="presParOf" srcId="{FAD71CC6-41EB-45AE-959C-131ED47799A5}" destId="{544991FC-D38A-4CD2-8205-9FF5517B468C}" srcOrd="4" destOrd="0" presId="urn:microsoft.com/office/officeart/2008/layout/AlternatingHexagons"/>
    <dgm:cxn modelId="{985A8107-0907-402C-A703-B99545BE0013}" type="presParOf" srcId="{6770A2B8-D6AE-49DB-B550-11AA5AB74D4A}" destId="{D0C46D5E-F832-47AB-A77D-4B8CD76D2A63}" srcOrd="3" destOrd="0" presId="urn:microsoft.com/office/officeart/2008/layout/AlternatingHexagons"/>
    <dgm:cxn modelId="{DF7862AA-0596-4964-84D6-7101DC765906}" type="presParOf" srcId="{6770A2B8-D6AE-49DB-B550-11AA5AB74D4A}" destId="{8CDE364D-6D56-49FF-9294-D1EE3CB73726}" srcOrd="4" destOrd="0" presId="urn:microsoft.com/office/officeart/2008/layout/AlternatingHexagons"/>
    <dgm:cxn modelId="{CCC86479-4F86-43AE-B47A-92224D24B951}" type="presParOf" srcId="{8CDE364D-6D56-49FF-9294-D1EE3CB73726}" destId="{44797733-1BBC-411C-92F4-B700C3D4F95C}" srcOrd="0" destOrd="0" presId="urn:microsoft.com/office/officeart/2008/layout/AlternatingHexagons"/>
    <dgm:cxn modelId="{DEC831B7-1D58-441F-B927-2A2735D2CCE6}" type="presParOf" srcId="{8CDE364D-6D56-49FF-9294-D1EE3CB73726}" destId="{E76D2295-EF18-47AD-8A10-EBBEC9CE0B8B}" srcOrd="1" destOrd="0" presId="urn:microsoft.com/office/officeart/2008/layout/AlternatingHexagons"/>
    <dgm:cxn modelId="{F80ABCB1-B74D-41BA-B29A-C6E51D54C5E2}" type="presParOf" srcId="{8CDE364D-6D56-49FF-9294-D1EE3CB73726}" destId="{6C1BE032-4A7D-45E3-AEF7-B69744690395}" srcOrd="2" destOrd="0" presId="urn:microsoft.com/office/officeart/2008/layout/AlternatingHexagons"/>
    <dgm:cxn modelId="{EC4FA916-0CFC-4DF1-88C4-9070D311B0D5}" type="presParOf" srcId="{8CDE364D-6D56-49FF-9294-D1EE3CB73726}" destId="{A3310B3D-69EA-4F81-BE6B-51E692E2AAB1}" srcOrd="3" destOrd="0" presId="urn:microsoft.com/office/officeart/2008/layout/AlternatingHexagons"/>
    <dgm:cxn modelId="{FC422E44-2AB0-4067-9BE5-F584F73B6BEA}" type="presParOf" srcId="{8CDE364D-6D56-49FF-9294-D1EE3CB73726}" destId="{1718F5E0-FF9D-4902-8198-A6FA96AA2B57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073203-8DE6-4BE5-A128-06542D6BD6C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D4A45E8-7819-46F0-9F89-9D14F34F5D83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680B62A0-946A-4B19-B8F3-AA6647E4018D}" type="parTrans" cxnId="{9BD8B0CB-2A25-44CC-95AB-9004550F4ABA}">
      <dgm:prSet/>
      <dgm:spPr/>
      <dgm:t>
        <a:bodyPr/>
        <a:lstStyle/>
        <a:p>
          <a:endParaRPr lang="en-IN"/>
        </a:p>
      </dgm:t>
    </dgm:pt>
    <dgm:pt modelId="{E627B580-9FFC-4035-9FE8-FD586DF0E4F7}" type="sibTrans" cxnId="{9BD8B0CB-2A25-44CC-95AB-9004550F4ABA}">
      <dgm:prSet/>
      <dgm:spPr/>
      <dgm:t>
        <a:bodyPr/>
        <a:lstStyle/>
        <a:p>
          <a:endParaRPr lang="en-IN"/>
        </a:p>
      </dgm:t>
    </dgm:pt>
    <dgm:pt modelId="{413915F5-1EDB-4223-886E-3E078F02D1BF}">
      <dgm:prSet/>
      <dgm:spPr/>
      <dgm:t>
        <a:bodyPr/>
        <a:lstStyle/>
        <a:p>
          <a:r>
            <a:rPr lang="en-IN" dirty="0"/>
            <a:t>Dev</a:t>
          </a:r>
        </a:p>
      </dgm:t>
    </dgm:pt>
    <dgm:pt modelId="{C02C0425-312F-4171-B242-C1982932216E}" type="parTrans" cxnId="{C32A2BC8-5FCE-4549-A611-7ED521512FBF}">
      <dgm:prSet/>
      <dgm:spPr/>
      <dgm:t>
        <a:bodyPr/>
        <a:lstStyle/>
        <a:p>
          <a:endParaRPr lang="en-IN"/>
        </a:p>
      </dgm:t>
    </dgm:pt>
    <dgm:pt modelId="{0B963B67-115C-435D-8C56-4AC21A090440}" type="sibTrans" cxnId="{C32A2BC8-5FCE-4549-A611-7ED521512FBF}">
      <dgm:prSet/>
      <dgm:spPr/>
      <dgm:t>
        <a:bodyPr/>
        <a:lstStyle/>
        <a:p>
          <a:endParaRPr lang="en-IN"/>
        </a:p>
      </dgm:t>
    </dgm:pt>
    <dgm:pt modelId="{827BE86D-6C46-421B-A137-C77D41661D7C}">
      <dgm:prSet/>
      <dgm:spPr/>
      <dgm:t>
        <a:bodyPr/>
        <a:lstStyle/>
        <a:p>
          <a:r>
            <a:rPr lang="en-IN"/>
            <a:t>UAT</a:t>
          </a:r>
        </a:p>
      </dgm:t>
    </dgm:pt>
    <dgm:pt modelId="{AC48DD34-E23D-4DD2-8DF0-E9721CE4A1F0}" type="parTrans" cxnId="{72EC6501-84AF-4BDD-B6AA-743A749160A6}">
      <dgm:prSet/>
      <dgm:spPr/>
      <dgm:t>
        <a:bodyPr/>
        <a:lstStyle/>
        <a:p>
          <a:endParaRPr lang="en-IN"/>
        </a:p>
      </dgm:t>
    </dgm:pt>
    <dgm:pt modelId="{AA7A27DE-9671-47A2-8BBA-2A57C9789E8E}" type="sibTrans" cxnId="{72EC6501-84AF-4BDD-B6AA-743A749160A6}">
      <dgm:prSet/>
      <dgm:spPr/>
      <dgm:t>
        <a:bodyPr/>
        <a:lstStyle/>
        <a:p>
          <a:endParaRPr lang="en-IN"/>
        </a:p>
      </dgm:t>
    </dgm:pt>
    <dgm:pt modelId="{A4F556E4-2F40-4223-ADEB-BA3D3C1780BE}" type="pres">
      <dgm:prSet presAssocID="{34073203-8DE6-4BE5-A128-06542D6BD6C4}" presName="linearFlow" presStyleCnt="0">
        <dgm:presLayoutVars>
          <dgm:dir/>
          <dgm:resizeHandles val="exact"/>
        </dgm:presLayoutVars>
      </dgm:prSet>
      <dgm:spPr/>
    </dgm:pt>
    <dgm:pt modelId="{A4A79317-5F3D-4B0D-9AC3-3945F344252F}" type="pres">
      <dgm:prSet presAssocID="{ED4A45E8-7819-46F0-9F89-9D14F34F5D83}" presName="composite" presStyleCnt="0"/>
      <dgm:spPr/>
    </dgm:pt>
    <dgm:pt modelId="{82EED5DD-D800-4271-91E0-F0C0D1D31119}" type="pres">
      <dgm:prSet presAssocID="{ED4A45E8-7819-46F0-9F89-9D14F34F5D83}" presName="imgShp" presStyleLbl="fgImgPlace1" presStyleIdx="0" presStyleCnt="3"/>
      <dgm:spPr/>
    </dgm:pt>
    <dgm:pt modelId="{2367C8E2-4F29-4C78-B8C9-FA489BB5DDEB}" type="pres">
      <dgm:prSet presAssocID="{ED4A45E8-7819-46F0-9F89-9D14F34F5D83}" presName="txShp" presStyleLbl="node1" presStyleIdx="0" presStyleCnt="3">
        <dgm:presLayoutVars>
          <dgm:bulletEnabled val="1"/>
        </dgm:presLayoutVars>
      </dgm:prSet>
      <dgm:spPr/>
    </dgm:pt>
    <dgm:pt modelId="{2CE603DB-AFC3-460A-A6B9-AB9EE1C283BD}" type="pres">
      <dgm:prSet presAssocID="{E627B580-9FFC-4035-9FE8-FD586DF0E4F7}" presName="spacing" presStyleCnt="0"/>
      <dgm:spPr/>
    </dgm:pt>
    <dgm:pt modelId="{A06A5BF8-5ADB-4F69-B275-5C4B3DFE4825}" type="pres">
      <dgm:prSet presAssocID="{413915F5-1EDB-4223-886E-3E078F02D1BF}" presName="composite" presStyleCnt="0"/>
      <dgm:spPr/>
    </dgm:pt>
    <dgm:pt modelId="{155BDDA0-008B-42F0-8165-A91C29C15BBE}" type="pres">
      <dgm:prSet presAssocID="{413915F5-1EDB-4223-886E-3E078F02D1BF}" presName="imgShp" presStyleLbl="fgImgPlace1" presStyleIdx="1" presStyleCnt="3"/>
      <dgm:spPr/>
    </dgm:pt>
    <dgm:pt modelId="{6DA6A563-4798-42BE-BE95-410423B610EB}" type="pres">
      <dgm:prSet presAssocID="{413915F5-1EDB-4223-886E-3E078F02D1BF}" presName="txShp" presStyleLbl="node1" presStyleIdx="1" presStyleCnt="3">
        <dgm:presLayoutVars>
          <dgm:bulletEnabled val="1"/>
        </dgm:presLayoutVars>
      </dgm:prSet>
      <dgm:spPr/>
    </dgm:pt>
    <dgm:pt modelId="{E06643C6-FE84-40AF-91A7-A3F57C75097B}" type="pres">
      <dgm:prSet presAssocID="{0B963B67-115C-435D-8C56-4AC21A090440}" presName="spacing" presStyleCnt="0"/>
      <dgm:spPr/>
    </dgm:pt>
    <dgm:pt modelId="{7E3D0745-F8BA-4084-AAFD-E49D7EC82038}" type="pres">
      <dgm:prSet presAssocID="{827BE86D-6C46-421B-A137-C77D41661D7C}" presName="composite" presStyleCnt="0"/>
      <dgm:spPr/>
    </dgm:pt>
    <dgm:pt modelId="{DE88FD75-0DAB-4C79-8466-98B97AC489A6}" type="pres">
      <dgm:prSet presAssocID="{827BE86D-6C46-421B-A137-C77D41661D7C}" presName="imgShp" presStyleLbl="fgImgPlace1" presStyleIdx="2" presStyleCnt="3"/>
      <dgm:spPr/>
    </dgm:pt>
    <dgm:pt modelId="{234A3D6A-1C7E-47E8-8151-EDD8070A50C4}" type="pres">
      <dgm:prSet presAssocID="{827BE86D-6C46-421B-A137-C77D41661D7C}" presName="txShp" presStyleLbl="node1" presStyleIdx="2" presStyleCnt="3" custLinFactNeighborX="562" custLinFactNeighborY="119">
        <dgm:presLayoutVars>
          <dgm:bulletEnabled val="1"/>
        </dgm:presLayoutVars>
      </dgm:prSet>
      <dgm:spPr/>
    </dgm:pt>
  </dgm:ptLst>
  <dgm:cxnLst>
    <dgm:cxn modelId="{72EC6501-84AF-4BDD-B6AA-743A749160A6}" srcId="{34073203-8DE6-4BE5-A128-06542D6BD6C4}" destId="{827BE86D-6C46-421B-A137-C77D41661D7C}" srcOrd="2" destOrd="0" parTransId="{AC48DD34-E23D-4DD2-8DF0-E9721CE4A1F0}" sibTransId="{AA7A27DE-9671-47A2-8BBA-2A57C9789E8E}"/>
    <dgm:cxn modelId="{8310ED3A-2275-4661-8ED7-9166C991FAF3}" type="presOf" srcId="{34073203-8DE6-4BE5-A128-06542D6BD6C4}" destId="{A4F556E4-2F40-4223-ADEB-BA3D3C1780BE}" srcOrd="0" destOrd="0" presId="urn:microsoft.com/office/officeart/2005/8/layout/vList3"/>
    <dgm:cxn modelId="{387D5445-E2BE-4EBC-A9DF-C810810D10EC}" type="presOf" srcId="{827BE86D-6C46-421B-A137-C77D41661D7C}" destId="{234A3D6A-1C7E-47E8-8151-EDD8070A50C4}" srcOrd="0" destOrd="0" presId="urn:microsoft.com/office/officeart/2005/8/layout/vList3"/>
    <dgm:cxn modelId="{2196AFB4-8352-476D-BDED-80D68196B99E}" type="presOf" srcId="{ED4A45E8-7819-46F0-9F89-9D14F34F5D83}" destId="{2367C8E2-4F29-4C78-B8C9-FA489BB5DDEB}" srcOrd="0" destOrd="0" presId="urn:microsoft.com/office/officeart/2005/8/layout/vList3"/>
    <dgm:cxn modelId="{C32A2BC8-5FCE-4549-A611-7ED521512FBF}" srcId="{34073203-8DE6-4BE5-A128-06542D6BD6C4}" destId="{413915F5-1EDB-4223-886E-3E078F02D1BF}" srcOrd="1" destOrd="0" parTransId="{C02C0425-312F-4171-B242-C1982932216E}" sibTransId="{0B963B67-115C-435D-8C56-4AC21A090440}"/>
    <dgm:cxn modelId="{9BD8B0CB-2A25-44CC-95AB-9004550F4ABA}" srcId="{34073203-8DE6-4BE5-A128-06542D6BD6C4}" destId="{ED4A45E8-7819-46F0-9F89-9D14F34F5D83}" srcOrd="0" destOrd="0" parTransId="{680B62A0-946A-4B19-B8F3-AA6647E4018D}" sibTransId="{E627B580-9FFC-4035-9FE8-FD586DF0E4F7}"/>
    <dgm:cxn modelId="{639527E1-60E5-4905-AFF4-04CD30A67741}" type="presOf" srcId="{413915F5-1EDB-4223-886E-3E078F02D1BF}" destId="{6DA6A563-4798-42BE-BE95-410423B610EB}" srcOrd="0" destOrd="0" presId="urn:microsoft.com/office/officeart/2005/8/layout/vList3"/>
    <dgm:cxn modelId="{F48E697A-1EFB-42C0-8A71-3537AB198FA7}" type="presParOf" srcId="{A4F556E4-2F40-4223-ADEB-BA3D3C1780BE}" destId="{A4A79317-5F3D-4B0D-9AC3-3945F344252F}" srcOrd="0" destOrd="0" presId="urn:microsoft.com/office/officeart/2005/8/layout/vList3"/>
    <dgm:cxn modelId="{ED44060F-8813-4719-B7A5-7DF2BB7E64AB}" type="presParOf" srcId="{A4A79317-5F3D-4B0D-9AC3-3945F344252F}" destId="{82EED5DD-D800-4271-91E0-F0C0D1D31119}" srcOrd="0" destOrd="0" presId="urn:microsoft.com/office/officeart/2005/8/layout/vList3"/>
    <dgm:cxn modelId="{1003801D-2DAC-43CF-9C3B-1BE3898D0E1F}" type="presParOf" srcId="{A4A79317-5F3D-4B0D-9AC3-3945F344252F}" destId="{2367C8E2-4F29-4C78-B8C9-FA489BB5DDEB}" srcOrd="1" destOrd="0" presId="urn:microsoft.com/office/officeart/2005/8/layout/vList3"/>
    <dgm:cxn modelId="{4D9B1EF8-90AA-4881-ACB5-535AA8FAEB25}" type="presParOf" srcId="{A4F556E4-2F40-4223-ADEB-BA3D3C1780BE}" destId="{2CE603DB-AFC3-460A-A6B9-AB9EE1C283BD}" srcOrd="1" destOrd="0" presId="urn:microsoft.com/office/officeart/2005/8/layout/vList3"/>
    <dgm:cxn modelId="{7A16E792-5C8C-4B76-A259-2EFC70A71656}" type="presParOf" srcId="{A4F556E4-2F40-4223-ADEB-BA3D3C1780BE}" destId="{A06A5BF8-5ADB-4F69-B275-5C4B3DFE4825}" srcOrd="2" destOrd="0" presId="urn:microsoft.com/office/officeart/2005/8/layout/vList3"/>
    <dgm:cxn modelId="{8B714C47-595D-42F4-8F1D-C21AAC7C658D}" type="presParOf" srcId="{A06A5BF8-5ADB-4F69-B275-5C4B3DFE4825}" destId="{155BDDA0-008B-42F0-8165-A91C29C15BBE}" srcOrd="0" destOrd="0" presId="urn:microsoft.com/office/officeart/2005/8/layout/vList3"/>
    <dgm:cxn modelId="{846DC021-EE23-43FC-A528-6965234F3C85}" type="presParOf" srcId="{A06A5BF8-5ADB-4F69-B275-5C4B3DFE4825}" destId="{6DA6A563-4798-42BE-BE95-410423B610EB}" srcOrd="1" destOrd="0" presId="urn:microsoft.com/office/officeart/2005/8/layout/vList3"/>
    <dgm:cxn modelId="{0D6D7A9F-3DFB-4A26-BFFA-D0D49F410756}" type="presParOf" srcId="{A4F556E4-2F40-4223-ADEB-BA3D3C1780BE}" destId="{E06643C6-FE84-40AF-91A7-A3F57C75097B}" srcOrd="3" destOrd="0" presId="urn:microsoft.com/office/officeart/2005/8/layout/vList3"/>
    <dgm:cxn modelId="{6C307063-CBFA-49AA-94F7-EAE7AE781B9E}" type="presParOf" srcId="{A4F556E4-2F40-4223-ADEB-BA3D3C1780BE}" destId="{7E3D0745-F8BA-4084-AAFD-E49D7EC82038}" srcOrd="4" destOrd="0" presId="urn:microsoft.com/office/officeart/2005/8/layout/vList3"/>
    <dgm:cxn modelId="{7CB76078-9E93-4A32-85C1-CCB77FB07093}" type="presParOf" srcId="{7E3D0745-F8BA-4084-AAFD-E49D7EC82038}" destId="{DE88FD75-0DAB-4C79-8466-98B97AC489A6}" srcOrd="0" destOrd="0" presId="urn:microsoft.com/office/officeart/2005/8/layout/vList3"/>
    <dgm:cxn modelId="{E7619444-1D7C-4E0F-AC8C-66398BAC9A72}" type="presParOf" srcId="{7E3D0745-F8BA-4084-AAFD-E49D7EC82038}" destId="{234A3D6A-1C7E-47E8-8151-EDD8070A50C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A7FD9A-4B6B-4361-9394-8B808DA9F692}" type="doc">
      <dgm:prSet loTypeId="urn:microsoft.com/office/officeart/2005/8/layout/hList7" loCatId="picture" qsTypeId="urn:microsoft.com/office/officeart/2005/8/quickstyle/3d4" qsCatId="3D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52B2FD8B-9A55-4E1C-80F1-19C069BE1B1F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F0294F6E-7E1D-4F25-A560-0073AA4FF8EA}" type="parTrans" cxnId="{4ADCC98C-8BE9-4354-91C3-DCB11268D84C}">
      <dgm:prSet/>
      <dgm:spPr/>
      <dgm:t>
        <a:bodyPr/>
        <a:lstStyle/>
        <a:p>
          <a:endParaRPr lang="en-IN"/>
        </a:p>
      </dgm:t>
    </dgm:pt>
    <dgm:pt modelId="{10A37E72-E84B-47AB-9C85-5823F7998A8B}" type="sibTrans" cxnId="{4ADCC98C-8BE9-4354-91C3-DCB11268D84C}">
      <dgm:prSet/>
      <dgm:spPr/>
      <dgm:t>
        <a:bodyPr/>
        <a:lstStyle/>
        <a:p>
          <a:endParaRPr lang="en-IN"/>
        </a:p>
      </dgm:t>
    </dgm:pt>
    <dgm:pt modelId="{07A2B39C-E8C0-4823-AC51-377732BFC3E2}">
      <dgm:prSet/>
      <dgm:spPr/>
      <dgm:t>
        <a:bodyPr/>
        <a:lstStyle/>
        <a:p>
          <a:r>
            <a:rPr lang="en-IN"/>
            <a:t>UAT</a:t>
          </a:r>
        </a:p>
      </dgm:t>
    </dgm:pt>
    <dgm:pt modelId="{105056D7-EA39-41B5-B4E5-6F8816209473}" type="parTrans" cxnId="{0E9DE655-CE97-42D2-B930-B2DA136466BF}">
      <dgm:prSet/>
      <dgm:spPr/>
      <dgm:t>
        <a:bodyPr/>
        <a:lstStyle/>
        <a:p>
          <a:endParaRPr lang="en-IN"/>
        </a:p>
      </dgm:t>
    </dgm:pt>
    <dgm:pt modelId="{78EDC7D7-E69F-492D-833B-E5A70060A1D0}" type="sibTrans" cxnId="{0E9DE655-CE97-42D2-B930-B2DA136466BF}">
      <dgm:prSet/>
      <dgm:spPr/>
      <dgm:t>
        <a:bodyPr/>
        <a:lstStyle/>
        <a:p>
          <a:endParaRPr lang="en-IN"/>
        </a:p>
      </dgm:t>
    </dgm:pt>
    <dgm:pt modelId="{7853ED0E-1781-4CF9-920A-221117FAF96E}">
      <dgm:prSet/>
      <dgm:spPr/>
      <dgm:t>
        <a:bodyPr/>
        <a:lstStyle/>
        <a:p>
          <a:r>
            <a:rPr lang="en-IN"/>
            <a:t>DEV</a:t>
          </a:r>
        </a:p>
      </dgm:t>
    </dgm:pt>
    <dgm:pt modelId="{2B04555A-BDA1-4421-9BF3-50CC41F5DA54}" type="parTrans" cxnId="{58C5239E-FB3B-4E1C-803C-F53C6FE7A3BD}">
      <dgm:prSet/>
      <dgm:spPr/>
      <dgm:t>
        <a:bodyPr/>
        <a:lstStyle/>
        <a:p>
          <a:endParaRPr lang="en-IN"/>
        </a:p>
      </dgm:t>
    </dgm:pt>
    <dgm:pt modelId="{BF7131CA-1641-41D2-B41A-E8C9565DC8C2}" type="sibTrans" cxnId="{58C5239E-FB3B-4E1C-803C-F53C6FE7A3BD}">
      <dgm:prSet/>
      <dgm:spPr/>
      <dgm:t>
        <a:bodyPr/>
        <a:lstStyle/>
        <a:p>
          <a:endParaRPr lang="en-IN"/>
        </a:p>
      </dgm:t>
    </dgm:pt>
    <dgm:pt modelId="{68C414F4-CB44-4C4E-907B-2A430F6BB3D5}" type="pres">
      <dgm:prSet presAssocID="{FDA7FD9A-4B6B-4361-9394-8B808DA9F692}" presName="Name0" presStyleCnt="0">
        <dgm:presLayoutVars>
          <dgm:dir/>
          <dgm:resizeHandles val="exact"/>
        </dgm:presLayoutVars>
      </dgm:prSet>
      <dgm:spPr/>
    </dgm:pt>
    <dgm:pt modelId="{26E30EA1-64FA-4E91-B632-2884C1A1C395}" type="pres">
      <dgm:prSet presAssocID="{FDA7FD9A-4B6B-4361-9394-8B808DA9F692}" presName="fgShape" presStyleLbl="fgShp" presStyleIdx="0" presStyleCnt="1"/>
      <dgm:spPr/>
    </dgm:pt>
    <dgm:pt modelId="{524433F8-A6C0-41A5-BC18-6898AFCB8B8C}" type="pres">
      <dgm:prSet presAssocID="{FDA7FD9A-4B6B-4361-9394-8B808DA9F692}" presName="linComp" presStyleCnt="0"/>
      <dgm:spPr/>
    </dgm:pt>
    <dgm:pt modelId="{28A075D1-5E2E-485D-969E-9EE4A78A87E3}" type="pres">
      <dgm:prSet presAssocID="{52B2FD8B-9A55-4E1C-80F1-19C069BE1B1F}" presName="compNode" presStyleCnt="0"/>
      <dgm:spPr/>
    </dgm:pt>
    <dgm:pt modelId="{D41C8FBC-3D1E-4154-904F-F6103C47B266}" type="pres">
      <dgm:prSet presAssocID="{52B2FD8B-9A55-4E1C-80F1-19C069BE1B1F}" presName="bkgdShape" presStyleLbl="node1" presStyleIdx="0" presStyleCnt="3"/>
      <dgm:spPr/>
    </dgm:pt>
    <dgm:pt modelId="{D8BCFB37-A9E3-4BF3-99AB-CD1C0D653877}" type="pres">
      <dgm:prSet presAssocID="{52B2FD8B-9A55-4E1C-80F1-19C069BE1B1F}" presName="nodeTx" presStyleLbl="node1" presStyleIdx="0" presStyleCnt="3">
        <dgm:presLayoutVars>
          <dgm:bulletEnabled val="1"/>
        </dgm:presLayoutVars>
      </dgm:prSet>
      <dgm:spPr/>
    </dgm:pt>
    <dgm:pt modelId="{B6AC67CD-019F-41C0-BF40-F526BE10959B}" type="pres">
      <dgm:prSet presAssocID="{52B2FD8B-9A55-4E1C-80F1-19C069BE1B1F}" presName="invisiNode" presStyleLbl="node1" presStyleIdx="0" presStyleCnt="3"/>
      <dgm:spPr/>
    </dgm:pt>
    <dgm:pt modelId="{90AF40D6-EA33-46C2-ADCE-A30B048CF692}" type="pres">
      <dgm:prSet presAssocID="{52B2FD8B-9A55-4E1C-80F1-19C069BE1B1F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ools"/>
        </a:ext>
      </dgm:extLst>
    </dgm:pt>
    <dgm:pt modelId="{58474248-CBA8-41E7-B7EA-07C5E61EF583}" type="pres">
      <dgm:prSet presAssocID="{10A37E72-E84B-47AB-9C85-5823F7998A8B}" presName="sibTrans" presStyleLbl="sibTrans2D1" presStyleIdx="0" presStyleCnt="0"/>
      <dgm:spPr/>
    </dgm:pt>
    <dgm:pt modelId="{B18CAA60-695B-4048-A951-20E53420D78A}" type="pres">
      <dgm:prSet presAssocID="{07A2B39C-E8C0-4823-AC51-377732BFC3E2}" presName="compNode" presStyleCnt="0"/>
      <dgm:spPr/>
    </dgm:pt>
    <dgm:pt modelId="{0C97B4F2-CBD4-421D-A165-8EA0946768C0}" type="pres">
      <dgm:prSet presAssocID="{07A2B39C-E8C0-4823-AC51-377732BFC3E2}" presName="bkgdShape" presStyleLbl="node1" presStyleIdx="1" presStyleCnt="3" custLinFactNeighborX="-682" custLinFactNeighborY="495"/>
      <dgm:spPr/>
    </dgm:pt>
    <dgm:pt modelId="{D445616A-3AC1-4E76-8550-F8054B00AB5F}" type="pres">
      <dgm:prSet presAssocID="{07A2B39C-E8C0-4823-AC51-377732BFC3E2}" presName="nodeTx" presStyleLbl="node1" presStyleIdx="1" presStyleCnt="3">
        <dgm:presLayoutVars>
          <dgm:bulletEnabled val="1"/>
        </dgm:presLayoutVars>
      </dgm:prSet>
      <dgm:spPr/>
    </dgm:pt>
    <dgm:pt modelId="{A653AF0B-0C77-4F32-B16C-2CD1CFF50E5E}" type="pres">
      <dgm:prSet presAssocID="{07A2B39C-E8C0-4823-AC51-377732BFC3E2}" presName="invisiNode" presStyleLbl="node1" presStyleIdx="1" presStyleCnt="3"/>
      <dgm:spPr/>
    </dgm:pt>
    <dgm:pt modelId="{85D67A18-323E-416E-9F50-4627C9DB6674}" type="pres">
      <dgm:prSet presAssocID="{07A2B39C-E8C0-4823-AC51-377732BFC3E2}" presName="imagNod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ining tools"/>
        </a:ext>
      </dgm:extLst>
    </dgm:pt>
    <dgm:pt modelId="{3590D0C9-F8D1-462F-BE66-B59C95B9C9DC}" type="pres">
      <dgm:prSet presAssocID="{78EDC7D7-E69F-492D-833B-E5A70060A1D0}" presName="sibTrans" presStyleLbl="sibTrans2D1" presStyleIdx="0" presStyleCnt="0"/>
      <dgm:spPr/>
    </dgm:pt>
    <dgm:pt modelId="{DED19703-D773-4F09-BEAA-AC23EA4D755A}" type="pres">
      <dgm:prSet presAssocID="{7853ED0E-1781-4CF9-920A-221117FAF96E}" presName="compNode" presStyleCnt="0"/>
      <dgm:spPr/>
    </dgm:pt>
    <dgm:pt modelId="{05382A8B-90A4-45E8-A8C6-8D7626D9B720}" type="pres">
      <dgm:prSet presAssocID="{7853ED0E-1781-4CF9-920A-221117FAF96E}" presName="bkgdShape" presStyleLbl="node1" presStyleIdx="2" presStyleCnt="3" custLinFactNeighborX="-1686" custLinFactNeighborY="614"/>
      <dgm:spPr/>
    </dgm:pt>
    <dgm:pt modelId="{E105FDF4-BD95-4B11-B2DE-9EB3FEDED134}" type="pres">
      <dgm:prSet presAssocID="{7853ED0E-1781-4CF9-920A-221117FAF96E}" presName="nodeTx" presStyleLbl="node1" presStyleIdx="2" presStyleCnt="3">
        <dgm:presLayoutVars>
          <dgm:bulletEnabled val="1"/>
        </dgm:presLayoutVars>
      </dgm:prSet>
      <dgm:spPr/>
    </dgm:pt>
    <dgm:pt modelId="{CE85AA7F-F582-478F-8B4E-6FAD1CF1F5CD}" type="pres">
      <dgm:prSet presAssocID="{7853ED0E-1781-4CF9-920A-221117FAF96E}" presName="invisiNode" presStyleLbl="node1" presStyleIdx="2" presStyleCnt="3"/>
      <dgm:spPr/>
    </dgm:pt>
    <dgm:pt modelId="{D8DC48CD-65B7-418B-88F7-F07EED2BEDAD}" type="pres">
      <dgm:prSet presAssocID="{7853ED0E-1781-4CF9-920A-221117FAF96E}" presName="imagNod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rench"/>
        </a:ext>
      </dgm:extLst>
    </dgm:pt>
  </dgm:ptLst>
  <dgm:cxnLst>
    <dgm:cxn modelId="{E32E6526-DEDD-45D2-B99A-D9D2FD37F9C5}" type="presOf" srcId="{52B2FD8B-9A55-4E1C-80F1-19C069BE1B1F}" destId="{D8BCFB37-A9E3-4BF3-99AB-CD1C0D653877}" srcOrd="1" destOrd="0" presId="urn:microsoft.com/office/officeart/2005/8/layout/hList7"/>
    <dgm:cxn modelId="{1DA84433-E596-484D-BA87-F22C87C69CE2}" type="presOf" srcId="{78EDC7D7-E69F-492D-833B-E5A70060A1D0}" destId="{3590D0C9-F8D1-462F-BE66-B59C95B9C9DC}" srcOrd="0" destOrd="0" presId="urn:microsoft.com/office/officeart/2005/8/layout/hList7"/>
    <dgm:cxn modelId="{D556883C-2BB2-4AA3-82DF-A92EC82C0F15}" type="presOf" srcId="{07A2B39C-E8C0-4823-AC51-377732BFC3E2}" destId="{0C97B4F2-CBD4-421D-A165-8EA0946768C0}" srcOrd="0" destOrd="0" presId="urn:microsoft.com/office/officeart/2005/8/layout/hList7"/>
    <dgm:cxn modelId="{0E9DE655-CE97-42D2-B930-B2DA136466BF}" srcId="{FDA7FD9A-4B6B-4361-9394-8B808DA9F692}" destId="{07A2B39C-E8C0-4823-AC51-377732BFC3E2}" srcOrd="1" destOrd="0" parTransId="{105056D7-EA39-41B5-B4E5-6F8816209473}" sibTransId="{78EDC7D7-E69F-492D-833B-E5A70060A1D0}"/>
    <dgm:cxn modelId="{9C02A878-0857-4C88-89B3-A728DE216207}" type="presOf" srcId="{7853ED0E-1781-4CF9-920A-221117FAF96E}" destId="{05382A8B-90A4-45E8-A8C6-8D7626D9B720}" srcOrd="0" destOrd="0" presId="urn:microsoft.com/office/officeart/2005/8/layout/hList7"/>
    <dgm:cxn modelId="{E1CF6588-81C5-4D8E-BABE-076614709BA1}" type="presOf" srcId="{FDA7FD9A-4B6B-4361-9394-8B808DA9F692}" destId="{68C414F4-CB44-4C4E-907B-2A430F6BB3D5}" srcOrd="0" destOrd="0" presId="urn:microsoft.com/office/officeart/2005/8/layout/hList7"/>
    <dgm:cxn modelId="{4ADCC98C-8BE9-4354-91C3-DCB11268D84C}" srcId="{FDA7FD9A-4B6B-4361-9394-8B808DA9F692}" destId="{52B2FD8B-9A55-4E1C-80F1-19C069BE1B1F}" srcOrd="0" destOrd="0" parTransId="{F0294F6E-7E1D-4F25-A560-0073AA4FF8EA}" sibTransId="{10A37E72-E84B-47AB-9C85-5823F7998A8B}"/>
    <dgm:cxn modelId="{58C5239E-FB3B-4E1C-803C-F53C6FE7A3BD}" srcId="{FDA7FD9A-4B6B-4361-9394-8B808DA9F692}" destId="{7853ED0E-1781-4CF9-920A-221117FAF96E}" srcOrd="2" destOrd="0" parTransId="{2B04555A-BDA1-4421-9BF3-50CC41F5DA54}" sibTransId="{BF7131CA-1641-41D2-B41A-E8C9565DC8C2}"/>
    <dgm:cxn modelId="{52A789C3-6531-4C13-BE97-D2BB86FF93F3}" type="presOf" srcId="{7853ED0E-1781-4CF9-920A-221117FAF96E}" destId="{E105FDF4-BD95-4B11-B2DE-9EB3FEDED134}" srcOrd="1" destOrd="0" presId="urn:microsoft.com/office/officeart/2005/8/layout/hList7"/>
    <dgm:cxn modelId="{199D4AD4-2CFB-487A-A3D2-EFB44CBE7F4F}" type="presOf" srcId="{52B2FD8B-9A55-4E1C-80F1-19C069BE1B1F}" destId="{D41C8FBC-3D1E-4154-904F-F6103C47B266}" srcOrd="0" destOrd="0" presId="urn:microsoft.com/office/officeart/2005/8/layout/hList7"/>
    <dgm:cxn modelId="{98D64BDF-626C-4D20-A36C-634C5C40B446}" type="presOf" srcId="{07A2B39C-E8C0-4823-AC51-377732BFC3E2}" destId="{D445616A-3AC1-4E76-8550-F8054B00AB5F}" srcOrd="1" destOrd="0" presId="urn:microsoft.com/office/officeart/2005/8/layout/hList7"/>
    <dgm:cxn modelId="{01AEB2F3-D747-46E9-8F53-F7D316C1A6E5}" type="presOf" srcId="{10A37E72-E84B-47AB-9C85-5823F7998A8B}" destId="{58474248-CBA8-41E7-B7EA-07C5E61EF583}" srcOrd="0" destOrd="0" presId="urn:microsoft.com/office/officeart/2005/8/layout/hList7"/>
    <dgm:cxn modelId="{C8A149BB-CA40-42F6-BD01-D6256F393038}" type="presParOf" srcId="{68C414F4-CB44-4C4E-907B-2A430F6BB3D5}" destId="{26E30EA1-64FA-4E91-B632-2884C1A1C395}" srcOrd="0" destOrd="0" presId="urn:microsoft.com/office/officeart/2005/8/layout/hList7"/>
    <dgm:cxn modelId="{9C09BF7A-DFBC-4309-B76F-A68F96A47441}" type="presParOf" srcId="{68C414F4-CB44-4C4E-907B-2A430F6BB3D5}" destId="{524433F8-A6C0-41A5-BC18-6898AFCB8B8C}" srcOrd="1" destOrd="0" presId="urn:microsoft.com/office/officeart/2005/8/layout/hList7"/>
    <dgm:cxn modelId="{6D3369BB-886D-4F23-A0B4-4D64B2719F9B}" type="presParOf" srcId="{524433F8-A6C0-41A5-BC18-6898AFCB8B8C}" destId="{28A075D1-5E2E-485D-969E-9EE4A78A87E3}" srcOrd="0" destOrd="0" presId="urn:microsoft.com/office/officeart/2005/8/layout/hList7"/>
    <dgm:cxn modelId="{9D8DBDCB-5D10-4A12-80B0-68EE098EE23B}" type="presParOf" srcId="{28A075D1-5E2E-485D-969E-9EE4A78A87E3}" destId="{D41C8FBC-3D1E-4154-904F-F6103C47B266}" srcOrd="0" destOrd="0" presId="urn:microsoft.com/office/officeart/2005/8/layout/hList7"/>
    <dgm:cxn modelId="{21A5EB44-2E51-409C-B9FA-77B76A75A653}" type="presParOf" srcId="{28A075D1-5E2E-485D-969E-9EE4A78A87E3}" destId="{D8BCFB37-A9E3-4BF3-99AB-CD1C0D653877}" srcOrd="1" destOrd="0" presId="urn:microsoft.com/office/officeart/2005/8/layout/hList7"/>
    <dgm:cxn modelId="{D9B999BC-2DDB-47F4-832C-8C5D58BF1504}" type="presParOf" srcId="{28A075D1-5E2E-485D-969E-9EE4A78A87E3}" destId="{B6AC67CD-019F-41C0-BF40-F526BE10959B}" srcOrd="2" destOrd="0" presId="urn:microsoft.com/office/officeart/2005/8/layout/hList7"/>
    <dgm:cxn modelId="{EFF8E043-545D-472E-956C-B64AB63C0AC5}" type="presParOf" srcId="{28A075D1-5E2E-485D-969E-9EE4A78A87E3}" destId="{90AF40D6-EA33-46C2-ADCE-A30B048CF692}" srcOrd="3" destOrd="0" presId="urn:microsoft.com/office/officeart/2005/8/layout/hList7"/>
    <dgm:cxn modelId="{32CA381C-32DB-4CEF-9395-BCBE1CABA887}" type="presParOf" srcId="{524433F8-A6C0-41A5-BC18-6898AFCB8B8C}" destId="{58474248-CBA8-41E7-B7EA-07C5E61EF583}" srcOrd="1" destOrd="0" presId="urn:microsoft.com/office/officeart/2005/8/layout/hList7"/>
    <dgm:cxn modelId="{155CD89D-49C4-4C36-8AA5-A492C62AD554}" type="presParOf" srcId="{524433F8-A6C0-41A5-BC18-6898AFCB8B8C}" destId="{B18CAA60-695B-4048-A951-20E53420D78A}" srcOrd="2" destOrd="0" presId="urn:microsoft.com/office/officeart/2005/8/layout/hList7"/>
    <dgm:cxn modelId="{AD2A84F0-BFCD-4FA3-A4B0-39CB752C9709}" type="presParOf" srcId="{B18CAA60-695B-4048-A951-20E53420D78A}" destId="{0C97B4F2-CBD4-421D-A165-8EA0946768C0}" srcOrd="0" destOrd="0" presId="urn:microsoft.com/office/officeart/2005/8/layout/hList7"/>
    <dgm:cxn modelId="{8D4C2EB2-A607-4190-9F6A-45E5616D4ECA}" type="presParOf" srcId="{B18CAA60-695B-4048-A951-20E53420D78A}" destId="{D445616A-3AC1-4E76-8550-F8054B00AB5F}" srcOrd="1" destOrd="0" presId="urn:microsoft.com/office/officeart/2005/8/layout/hList7"/>
    <dgm:cxn modelId="{868022A6-4E35-469B-8DAA-B5D917218911}" type="presParOf" srcId="{B18CAA60-695B-4048-A951-20E53420D78A}" destId="{A653AF0B-0C77-4F32-B16C-2CD1CFF50E5E}" srcOrd="2" destOrd="0" presId="urn:microsoft.com/office/officeart/2005/8/layout/hList7"/>
    <dgm:cxn modelId="{C2229A8B-1E3F-442F-9705-2CD3A50B5CA2}" type="presParOf" srcId="{B18CAA60-695B-4048-A951-20E53420D78A}" destId="{85D67A18-323E-416E-9F50-4627C9DB6674}" srcOrd="3" destOrd="0" presId="urn:microsoft.com/office/officeart/2005/8/layout/hList7"/>
    <dgm:cxn modelId="{A5BF5CDF-BCD3-4B60-AF9F-BBE7ADC19FAD}" type="presParOf" srcId="{524433F8-A6C0-41A5-BC18-6898AFCB8B8C}" destId="{3590D0C9-F8D1-462F-BE66-B59C95B9C9DC}" srcOrd="3" destOrd="0" presId="urn:microsoft.com/office/officeart/2005/8/layout/hList7"/>
    <dgm:cxn modelId="{B13EF3FF-513C-4209-8D8F-A8FBA8DFA550}" type="presParOf" srcId="{524433F8-A6C0-41A5-BC18-6898AFCB8B8C}" destId="{DED19703-D773-4F09-BEAA-AC23EA4D755A}" srcOrd="4" destOrd="0" presId="urn:microsoft.com/office/officeart/2005/8/layout/hList7"/>
    <dgm:cxn modelId="{4689AF58-27FA-45B9-8F44-8DEF68229D98}" type="presParOf" srcId="{DED19703-D773-4F09-BEAA-AC23EA4D755A}" destId="{05382A8B-90A4-45E8-A8C6-8D7626D9B720}" srcOrd="0" destOrd="0" presId="urn:microsoft.com/office/officeart/2005/8/layout/hList7"/>
    <dgm:cxn modelId="{D0A1EE38-8C17-412F-90D1-39A0C0A96D44}" type="presParOf" srcId="{DED19703-D773-4F09-BEAA-AC23EA4D755A}" destId="{E105FDF4-BD95-4B11-B2DE-9EB3FEDED134}" srcOrd="1" destOrd="0" presId="urn:microsoft.com/office/officeart/2005/8/layout/hList7"/>
    <dgm:cxn modelId="{5E857D5F-8CE3-4481-AFF7-7198C46FCE72}" type="presParOf" srcId="{DED19703-D773-4F09-BEAA-AC23EA4D755A}" destId="{CE85AA7F-F582-478F-8B4E-6FAD1CF1F5CD}" srcOrd="2" destOrd="0" presId="urn:microsoft.com/office/officeart/2005/8/layout/hList7"/>
    <dgm:cxn modelId="{73D32852-7116-4DD3-85C8-DFD74BB6CB34}" type="presParOf" srcId="{DED19703-D773-4F09-BEAA-AC23EA4D755A}" destId="{D8DC48CD-65B7-418B-88F7-F07EED2BEDAD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75AA41-865B-40AA-A410-491933E45C92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DDC838EB-4EFB-472A-AAE3-F3929F57E900}">
      <dgm:prSet/>
      <dgm:spPr/>
      <dgm:t>
        <a:bodyPr/>
        <a:lstStyle/>
        <a:p>
          <a:r>
            <a:rPr lang="en-IN" dirty="0"/>
            <a:t>Build</a:t>
          </a:r>
        </a:p>
      </dgm:t>
    </dgm:pt>
    <dgm:pt modelId="{0A3D63A1-DFFD-449B-88E8-BEFCF525BF0E}" type="parTrans" cxnId="{BA386C69-9C75-4CBD-9DD2-8EBF171EB8FA}">
      <dgm:prSet/>
      <dgm:spPr/>
      <dgm:t>
        <a:bodyPr/>
        <a:lstStyle/>
        <a:p>
          <a:endParaRPr lang="en-IN"/>
        </a:p>
      </dgm:t>
    </dgm:pt>
    <dgm:pt modelId="{EF072707-38FE-4E1F-9F9A-7BD460903775}" type="sibTrans" cxnId="{BA386C69-9C75-4CBD-9DD2-8EBF171EB8FA}">
      <dgm:prSet/>
      <dgm:spPr/>
      <dgm:t>
        <a:bodyPr/>
        <a:lstStyle/>
        <a:p>
          <a:endParaRPr lang="en-IN"/>
        </a:p>
      </dgm:t>
    </dgm:pt>
    <dgm:pt modelId="{42D89B85-BD91-4685-B74E-58A193CECE98}">
      <dgm:prSet/>
      <dgm:spPr/>
      <dgm:t>
        <a:bodyPr/>
        <a:lstStyle/>
        <a:p>
          <a:r>
            <a:rPr lang="en-IN" dirty="0"/>
            <a:t>Release</a:t>
          </a:r>
        </a:p>
      </dgm:t>
    </dgm:pt>
    <dgm:pt modelId="{CB87BA2F-DD9D-46B0-8818-0E4C11D2070D}" type="parTrans" cxnId="{4C321E87-AA1D-480B-8161-104816070D3C}">
      <dgm:prSet/>
      <dgm:spPr/>
      <dgm:t>
        <a:bodyPr/>
        <a:lstStyle/>
        <a:p>
          <a:endParaRPr lang="en-IN"/>
        </a:p>
      </dgm:t>
    </dgm:pt>
    <dgm:pt modelId="{631BA2A2-47CF-4B9F-83B1-1E4599D0A204}" type="sibTrans" cxnId="{4C321E87-AA1D-480B-8161-104816070D3C}">
      <dgm:prSet/>
      <dgm:spPr/>
      <dgm:t>
        <a:bodyPr/>
        <a:lstStyle/>
        <a:p>
          <a:endParaRPr lang="en-IN"/>
        </a:p>
      </dgm:t>
    </dgm:pt>
    <dgm:pt modelId="{AAC5D281-3EDE-4910-A0C5-562CE70AC554}">
      <dgm:prSet/>
      <dgm:spPr>
        <a:solidFill>
          <a:schemeClr val="accent6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IN" dirty="0"/>
            <a:t>run</a:t>
          </a:r>
        </a:p>
      </dgm:t>
    </dgm:pt>
    <dgm:pt modelId="{FB1B71B2-4EEB-4D57-9034-551FF8BE6ED3}" type="parTrans" cxnId="{110989E6-7E36-4BF9-83E0-E6CE5B45A624}">
      <dgm:prSet/>
      <dgm:spPr/>
      <dgm:t>
        <a:bodyPr/>
        <a:lstStyle/>
        <a:p>
          <a:endParaRPr lang="en-IN"/>
        </a:p>
      </dgm:t>
    </dgm:pt>
    <dgm:pt modelId="{2C4F1B21-FD18-4006-BFAD-ABC07A9DAE7D}" type="sibTrans" cxnId="{110989E6-7E36-4BF9-83E0-E6CE5B45A624}">
      <dgm:prSet/>
      <dgm:spPr/>
      <dgm:t>
        <a:bodyPr/>
        <a:lstStyle/>
        <a:p>
          <a:endParaRPr lang="en-IN"/>
        </a:p>
      </dgm:t>
    </dgm:pt>
    <dgm:pt modelId="{D127F9FC-EF43-4620-A209-BC9915C8AEE6}" type="pres">
      <dgm:prSet presAssocID="{9675AA41-865B-40AA-A410-491933E45C92}" presName="rootnode" presStyleCnt="0">
        <dgm:presLayoutVars>
          <dgm:chMax/>
          <dgm:chPref/>
          <dgm:dir/>
          <dgm:animLvl val="lvl"/>
        </dgm:presLayoutVars>
      </dgm:prSet>
      <dgm:spPr/>
    </dgm:pt>
    <dgm:pt modelId="{B1D6E7F1-5A9D-4F29-A457-E1276104A0E9}" type="pres">
      <dgm:prSet presAssocID="{DDC838EB-4EFB-472A-AAE3-F3929F57E900}" presName="composite" presStyleCnt="0"/>
      <dgm:spPr/>
    </dgm:pt>
    <dgm:pt modelId="{4129594B-42EF-4268-B60A-45D2D1CDAC80}" type="pres">
      <dgm:prSet presAssocID="{DDC838EB-4EFB-472A-AAE3-F3929F57E900}" presName="bentUpArrow1" presStyleLbl="alignImgPlace1" presStyleIdx="0" presStyleCnt="2"/>
      <dgm:spPr/>
    </dgm:pt>
    <dgm:pt modelId="{1226128A-2D20-4D71-96DE-E7EA9BFDA310}" type="pres">
      <dgm:prSet presAssocID="{DDC838EB-4EFB-472A-AAE3-F3929F57E900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65B38D20-1421-47A3-B1D1-0CA4F1F8FFE2}" type="pres">
      <dgm:prSet presAssocID="{DDC838EB-4EFB-472A-AAE3-F3929F57E900}" presName="ChildText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89A25360-22F3-4E1D-8C56-9B254D41436B}" type="pres">
      <dgm:prSet presAssocID="{EF072707-38FE-4E1F-9F9A-7BD460903775}" presName="sibTrans" presStyleCnt="0"/>
      <dgm:spPr/>
    </dgm:pt>
    <dgm:pt modelId="{4A3B9C11-69F6-4308-ABC9-A5836D94AFDB}" type="pres">
      <dgm:prSet presAssocID="{42D89B85-BD91-4685-B74E-58A193CECE98}" presName="composite" presStyleCnt="0"/>
      <dgm:spPr/>
    </dgm:pt>
    <dgm:pt modelId="{BF14E7E8-ABCC-4C17-BCA2-2E9309165D81}" type="pres">
      <dgm:prSet presAssocID="{42D89B85-BD91-4685-B74E-58A193CECE98}" presName="bentUpArrow1" presStyleLbl="alignImgPlace1" presStyleIdx="1" presStyleCnt="2"/>
      <dgm:spPr/>
    </dgm:pt>
    <dgm:pt modelId="{F8AC9287-D568-4859-9078-5FCAAC3A4BBD}" type="pres">
      <dgm:prSet presAssocID="{42D89B85-BD91-4685-B74E-58A193CECE98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707988B-4A57-41F5-A948-BF47A56F9F40}" type="pres">
      <dgm:prSet presAssocID="{42D89B85-BD91-4685-B74E-58A193CECE98}" presName="ChildText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589F611F-CB89-45CC-B931-76421588D2F3}" type="pres">
      <dgm:prSet presAssocID="{631BA2A2-47CF-4B9F-83B1-1E4599D0A204}" presName="sibTrans" presStyleCnt="0"/>
      <dgm:spPr/>
    </dgm:pt>
    <dgm:pt modelId="{FD7CDC70-03D7-453A-A301-075D4BD96CEC}" type="pres">
      <dgm:prSet presAssocID="{AAC5D281-3EDE-4910-A0C5-562CE70AC554}" presName="composite" presStyleCnt="0"/>
      <dgm:spPr/>
    </dgm:pt>
    <dgm:pt modelId="{656CF815-A794-4363-85F3-0969F0DA2725}" type="pres">
      <dgm:prSet presAssocID="{AAC5D281-3EDE-4910-A0C5-562CE70AC554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BA386C69-9C75-4CBD-9DD2-8EBF171EB8FA}" srcId="{9675AA41-865B-40AA-A410-491933E45C92}" destId="{DDC838EB-4EFB-472A-AAE3-F3929F57E900}" srcOrd="0" destOrd="0" parTransId="{0A3D63A1-DFFD-449B-88E8-BEFCF525BF0E}" sibTransId="{EF072707-38FE-4E1F-9F9A-7BD460903775}"/>
    <dgm:cxn modelId="{4C321E87-AA1D-480B-8161-104816070D3C}" srcId="{9675AA41-865B-40AA-A410-491933E45C92}" destId="{42D89B85-BD91-4685-B74E-58A193CECE98}" srcOrd="1" destOrd="0" parTransId="{CB87BA2F-DD9D-46B0-8818-0E4C11D2070D}" sibTransId="{631BA2A2-47CF-4B9F-83B1-1E4599D0A204}"/>
    <dgm:cxn modelId="{3DA94195-CFAE-447C-965D-BE0DD86BED7C}" type="presOf" srcId="{AAC5D281-3EDE-4910-A0C5-562CE70AC554}" destId="{656CF815-A794-4363-85F3-0969F0DA2725}" srcOrd="0" destOrd="0" presId="urn:microsoft.com/office/officeart/2005/8/layout/StepDownProcess"/>
    <dgm:cxn modelId="{CED7E09B-3C26-4EE5-94AB-576647AD79B9}" type="presOf" srcId="{9675AA41-865B-40AA-A410-491933E45C92}" destId="{D127F9FC-EF43-4620-A209-BC9915C8AEE6}" srcOrd="0" destOrd="0" presId="urn:microsoft.com/office/officeart/2005/8/layout/StepDownProcess"/>
    <dgm:cxn modelId="{14C893A6-7974-43F2-84A7-1885D9F28D03}" type="presOf" srcId="{DDC838EB-4EFB-472A-AAE3-F3929F57E900}" destId="{1226128A-2D20-4D71-96DE-E7EA9BFDA310}" srcOrd="0" destOrd="0" presId="urn:microsoft.com/office/officeart/2005/8/layout/StepDownProcess"/>
    <dgm:cxn modelId="{BB8EC7CE-8156-4CA1-8F74-412B58001ECE}" type="presOf" srcId="{42D89B85-BD91-4685-B74E-58A193CECE98}" destId="{F8AC9287-D568-4859-9078-5FCAAC3A4BBD}" srcOrd="0" destOrd="0" presId="urn:microsoft.com/office/officeart/2005/8/layout/StepDownProcess"/>
    <dgm:cxn modelId="{110989E6-7E36-4BF9-83E0-E6CE5B45A624}" srcId="{9675AA41-865B-40AA-A410-491933E45C92}" destId="{AAC5D281-3EDE-4910-A0C5-562CE70AC554}" srcOrd="2" destOrd="0" parTransId="{FB1B71B2-4EEB-4D57-9034-551FF8BE6ED3}" sibTransId="{2C4F1B21-FD18-4006-BFAD-ABC07A9DAE7D}"/>
    <dgm:cxn modelId="{1F225DBC-8C6D-4CFF-9F23-45794F2060E5}" type="presParOf" srcId="{D127F9FC-EF43-4620-A209-BC9915C8AEE6}" destId="{B1D6E7F1-5A9D-4F29-A457-E1276104A0E9}" srcOrd="0" destOrd="0" presId="urn:microsoft.com/office/officeart/2005/8/layout/StepDownProcess"/>
    <dgm:cxn modelId="{41DE3213-9DE8-41BD-9D10-7C4CD67DCC2B}" type="presParOf" srcId="{B1D6E7F1-5A9D-4F29-A457-E1276104A0E9}" destId="{4129594B-42EF-4268-B60A-45D2D1CDAC80}" srcOrd="0" destOrd="0" presId="urn:microsoft.com/office/officeart/2005/8/layout/StepDownProcess"/>
    <dgm:cxn modelId="{6E6F9428-6A29-4CEC-A2F1-391E71079260}" type="presParOf" srcId="{B1D6E7F1-5A9D-4F29-A457-E1276104A0E9}" destId="{1226128A-2D20-4D71-96DE-E7EA9BFDA310}" srcOrd="1" destOrd="0" presId="urn:microsoft.com/office/officeart/2005/8/layout/StepDownProcess"/>
    <dgm:cxn modelId="{6F89D064-315F-4543-A13A-6B4E22E4128C}" type="presParOf" srcId="{B1D6E7F1-5A9D-4F29-A457-E1276104A0E9}" destId="{65B38D20-1421-47A3-B1D1-0CA4F1F8FFE2}" srcOrd="2" destOrd="0" presId="urn:microsoft.com/office/officeart/2005/8/layout/StepDownProcess"/>
    <dgm:cxn modelId="{3C134914-3D9B-47C4-B41D-6546759A1BC8}" type="presParOf" srcId="{D127F9FC-EF43-4620-A209-BC9915C8AEE6}" destId="{89A25360-22F3-4E1D-8C56-9B254D41436B}" srcOrd="1" destOrd="0" presId="urn:microsoft.com/office/officeart/2005/8/layout/StepDownProcess"/>
    <dgm:cxn modelId="{24A59F51-DDC7-479D-9B6F-9A9EA789A932}" type="presParOf" srcId="{D127F9FC-EF43-4620-A209-BC9915C8AEE6}" destId="{4A3B9C11-69F6-4308-ABC9-A5836D94AFDB}" srcOrd="2" destOrd="0" presId="urn:microsoft.com/office/officeart/2005/8/layout/StepDownProcess"/>
    <dgm:cxn modelId="{C12A707B-4C66-4FCD-A591-D91AE448FF2D}" type="presParOf" srcId="{4A3B9C11-69F6-4308-ABC9-A5836D94AFDB}" destId="{BF14E7E8-ABCC-4C17-BCA2-2E9309165D81}" srcOrd="0" destOrd="0" presId="urn:microsoft.com/office/officeart/2005/8/layout/StepDownProcess"/>
    <dgm:cxn modelId="{35D521DC-A2D1-4581-A5EE-4FD251EE0065}" type="presParOf" srcId="{4A3B9C11-69F6-4308-ABC9-A5836D94AFDB}" destId="{F8AC9287-D568-4859-9078-5FCAAC3A4BBD}" srcOrd="1" destOrd="0" presId="urn:microsoft.com/office/officeart/2005/8/layout/StepDownProcess"/>
    <dgm:cxn modelId="{5C6C68AF-7F2A-444D-89CB-A595523FBA00}" type="presParOf" srcId="{4A3B9C11-69F6-4308-ABC9-A5836D94AFDB}" destId="{B707988B-4A57-41F5-A948-BF47A56F9F40}" srcOrd="2" destOrd="0" presId="urn:microsoft.com/office/officeart/2005/8/layout/StepDownProcess"/>
    <dgm:cxn modelId="{FEA18B4F-1CE5-45DE-8D99-4ADB52C0F395}" type="presParOf" srcId="{D127F9FC-EF43-4620-A209-BC9915C8AEE6}" destId="{589F611F-CB89-45CC-B931-76421588D2F3}" srcOrd="3" destOrd="0" presId="urn:microsoft.com/office/officeart/2005/8/layout/StepDownProcess"/>
    <dgm:cxn modelId="{21BB0615-3131-4FA4-9D58-5F1E90BAFEEB}" type="presParOf" srcId="{D127F9FC-EF43-4620-A209-BC9915C8AEE6}" destId="{FD7CDC70-03D7-453A-A301-075D4BD96CEC}" srcOrd="4" destOrd="0" presId="urn:microsoft.com/office/officeart/2005/8/layout/StepDownProcess"/>
    <dgm:cxn modelId="{9F1ABD54-4C5C-4E24-A692-FFE029E9843E}" type="presParOf" srcId="{FD7CDC70-03D7-453A-A301-075D4BD96CEC}" destId="{656CF815-A794-4363-85F3-0969F0DA2725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0D8F3BF-83D4-415B-B792-9E1A1D533B83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IN"/>
        </a:p>
      </dgm:t>
    </dgm:pt>
    <dgm:pt modelId="{0A931C68-07BD-4746-A07F-6228BF5FA75E}">
      <dgm:prSet/>
      <dgm:spPr/>
      <dgm:t>
        <a:bodyPr/>
        <a:lstStyle/>
        <a:p>
          <a:r>
            <a:rPr lang="en-IN" dirty="0"/>
            <a:t>There should not be any separate service which handle all request and response rather the application itself will handle the protocol of communication </a:t>
          </a:r>
          <a:r>
            <a:rPr lang="en-US" dirty="0"/>
            <a:t>by binding to a port and listening to requests coming in on that port.</a:t>
          </a:r>
          <a:endParaRPr lang="en-IN" dirty="0"/>
        </a:p>
      </dgm:t>
    </dgm:pt>
    <dgm:pt modelId="{AA6F3944-6B54-46E7-9E75-0559A5EF4754}" type="parTrans" cxnId="{DA0C1243-F478-4618-95B4-D99237AEA02F}">
      <dgm:prSet/>
      <dgm:spPr/>
      <dgm:t>
        <a:bodyPr/>
        <a:lstStyle/>
        <a:p>
          <a:endParaRPr lang="en-IN"/>
        </a:p>
      </dgm:t>
    </dgm:pt>
    <dgm:pt modelId="{00482C43-99B1-4AF3-AC15-6AE65D3613F2}" type="sibTrans" cxnId="{DA0C1243-F478-4618-95B4-D99237AEA02F}">
      <dgm:prSet/>
      <dgm:spPr/>
      <dgm:t>
        <a:bodyPr/>
        <a:lstStyle/>
        <a:p>
          <a:endParaRPr lang="en-IN"/>
        </a:p>
      </dgm:t>
    </dgm:pt>
    <dgm:pt modelId="{1F2E3FBA-D92F-4EF4-AED7-7A784E4155A8}">
      <dgm:prSet/>
      <dgm:spPr/>
      <dgm:t>
        <a:bodyPr/>
        <a:lstStyle/>
        <a:p>
          <a:r>
            <a:rPr lang="en-US" dirty="0"/>
            <a:t>The port should be nonstandard port allowing to run in container in isolated fashion.</a:t>
          </a:r>
          <a:endParaRPr lang="en-IN" dirty="0"/>
        </a:p>
      </dgm:t>
    </dgm:pt>
    <dgm:pt modelId="{A1147C0D-08FB-4835-8DCC-43DE4981DAF6}" type="parTrans" cxnId="{838BEDE6-A16E-4EF1-B5A1-280EBF38C7D9}">
      <dgm:prSet/>
      <dgm:spPr/>
      <dgm:t>
        <a:bodyPr/>
        <a:lstStyle/>
        <a:p>
          <a:endParaRPr lang="en-IN"/>
        </a:p>
      </dgm:t>
    </dgm:pt>
    <dgm:pt modelId="{6CDB57AC-E7B4-4DA6-93A8-46C545D4F0D8}" type="sibTrans" cxnId="{838BEDE6-A16E-4EF1-B5A1-280EBF38C7D9}">
      <dgm:prSet/>
      <dgm:spPr/>
      <dgm:t>
        <a:bodyPr/>
        <a:lstStyle/>
        <a:p>
          <a:endParaRPr lang="en-IN"/>
        </a:p>
      </dgm:t>
    </dgm:pt>
    <dgm:pt modelId="{B6D2E709-43C3-4372-9A60-C31BB3E97759}" type="pres">
      <dgm:prSet presAssocID="{70D8F3BF-83D4-415B-B792-9E1A1D533B83}" presName="linearFlow" presStyleCnt="0">
        <dgm:presLayoutVars>
          <dgm:dir/>
          <dgm:resizeHandles val="exact"/>
        </dgm:presLayoutVars>
      </dgm:prSet>
      <dgm:spPr/>
    </dgm:pt>
    <dgm:pt modelId="{5B7009CB-6934-4D51-BC51-6408B7BF699F}" type="pres">
      <dgm:prSet presAssocID="{0A931C68-07BD-4746-A07F-6228BF5FA75E}" presName="composite" presStyleCnt="0"/>
      <dgm:spPr/>
    </dgm:pt>
    <dgm:pt modelId="{4956BB4F-C77E-4C4F-98B9-6510071C71CA}" type="pres">
      <dgm:prSet presAssocID="{0A931C68-07BD-4746-A07F-6228BF5FA75E}" presName="imgShp" presStyleLbl="fgImgPlace1" presStyleIdx="0" presStyleCnt="2" custLinFactNeighborX="-1368" custLinFactNeighborY="-1076"/>
      <dgm:spPr>
        <a:solidFill>
          <a:schemeClr val="bg1">
            <a:lumMod val="95000"/>
          </a:schemeClr>
        </a:solidFill>
      </dgm:spPr>
    </dgm:pt>
    <dgm:pt modelId="{46E20E65-855C-4324-B497-DBD518B1A5BA}" type="pres">
      <dgm:prSet presAssocID="{0A931C68-07BD-4746-A07F-6228BF5FA75E}" presName="txShp" presStyleLbl="node1" presStyleIdx="0" presStyleCnt="2">
        <dgm:presLayoutVars>
          <dgm:bulletEnabled val="1"/>
        </dgm:presLayoutVars>
      </dgm:prSet>
      <dgm:spPr/>
    </dgm:pt>
    <dgm:pt modelId="{25EAD606-5E40-4582-B38F-1E8EE298BF83}" type="pres">
      <dgm:prSet presAssocID="{00482C43-99B1-4AF3-AC15-6AE65D3613F2}" presName="spacing" presStyleCnt="0"/>
      <dgm:spPr/>
    </dgm:pt>
    <dgm:pt modelId="{B1BE86D2-F748-4E78-A3E2-DDCF611587BC}" type="pres">
      <dgm:prSet presAssocID="{1F2E3FBA-D92F-4EF4-AED7-7A784E4155A8}" presName="composite" presStyleCnt="0"/>
      <dgm:spPr/>
    </dgm:pt>
    <dgm:pt modelId="{30D55B19-C7BE-4D05-BA39-90FBD2766692}" type="pres">
      <dgm:prSet presAssocID="{1F2E3FBA-D92F-4EF4-AED7-7A784E4155A8}" presName="imgShp" presStyleLbl="fgImgPlace1" presStyleIdx="1" presStyleCnt="2"/>
      <dgm:spPr>
        <a:solidFill>
          <a:schemeClr val="bg1">
            <a:lumMod val="95000"/>
          </a:schemeClr>
        </a:solidFill>
      </dgm:spPr>
    </dgm:pt>
    <dgm:pt modelId="{244AEC27-EBC2-4327-92D2-7117A55A720C}" type="pres">
      <dgm:prSet presAssocID="{1F2E3FBA-D92F-4EF4-AED7-7A784E4155A8}" presName="txShp" presStyleLbl="node1" presStyleIdx="1" presStyleCnt="2">
        <dgm:presLayoutVars>
          <dgm:bulletEnabled val="1"/>
        </dgm:presLayoutVars>
      </dgm:prSet>
      <dgm:spPr/>
    </dgm:pt>
  </dgm:ptLst>
  <dgm:cxnLst>
    <dgm:cxn modelId="{DA0C1243-F478-4618-95B4-D99237AEA02F}" srcId="{70D8F3BF-83D4-415B-B792-9E1A1D533B83}" destId="{0A931C68-07BD-4746-A07F-6228BF5FA75E}" srcOrd="0" destOrd="0" parTransId="{AA6F3944-6B54-46E7-9E75-0559A5EF4754}" sibTransId="{00482C43-99B1-4AF3-AC15-6AE65D3613F2}"/>
    <dgm:cxn modelId="{259A5D75-93A7-4E75-910A-82CC42A96FB0}" type="presOf" srcId="{1F2E3FBA-D92F-4EF4-AED7-7A784E4155A8}" destId="{244AEC27-EBC2-4327-92D2-7117A55A720C}" srcOrd="0" destOrd="0" presId="urn:microsoft.com/office/officeart/2005/8/layout/vList3"/>
    <dgm:cxn modelId="{71DDAB97-C2BF-4BD6-A4B8-D7FF48FB8206}" type="presOf" srcId="{70D8F3BF-83D4-415B-B792-9E1A1D533B83}" destId="{B6D2E709-43C3-4372-9A60-C31BB3E97759}" srcOrd="0" destOrd="0" presId="urn:microsoft.com/office/officeart/2005/8/layout/vList3"/>
    <dgm:cxn modelId="{838BEDE6-A16E-4EF1-B5A1-280EBF38C7D9}" srcId="{70D8F3BF-83D4-415B-B792-9E1A1D533B83}" destId="{1F2E3FBA-D92F-4EF4-AED7-7A784E4155A8}" srcOrd="1" destOrd="0" parTransId="{A1147C0D-08FB-4835-8DCC-43DE4981DAF6}" sibTransId="{6CDB57AC-E7B4-4DA6-93A8-46C545D4F0D8}"/>
    <dgm:cxn modelId="{4DD55AF6-1494-4E9C-92D9-3C302E5C73ED}" type="presOf" srcId="{0A931C68-07BD-4746-A07F-6228BF5FA75E}" destId="{46E20E65-855C-4324-B497-DBD518B1A5BA}" srcOrd="0" destOrd="0" presId="urn:microsoft.com/office/officeart/2005/8/layout/vList3"/>
    <dgm:cxn modelId="{6A375E5A-D1EF-4503-B53F-4A8C3F1CE7E1}" type="presParOf" srcId="{B6D2E709-43C3-4372-9A60-C31BB3E97759}" destId="{5B7009CB-6934-4D51-BC51-6408B7BF699F}" srcOrd="0" destOrd="0" presId="urn:microsoft.com/office/officeart/2005/8/layout/vList3"/>
    <dgm:cxn modelId="{32318E98-A77C-4A94-85D0-956D3A2C547F}" type="presParOf" srcId="{5B7009CB-6934-4D51-BC51-6408B7BF699F}" destId="{4956BB4F-C77E-4C4F-98B9-6510071C71CA}" srcOrd="0" destOrd="0" presId="urn:microsoft.com/office/officeart/2005/8/layout/vList3"/>
    <dgm:cxn modelId="{7C3A8021-344C-49D4-91CC-76EAE65606E8}" type="presParOf" srcId="{5B7009CB-6934-4D51-BC51-6408B7BF699F}" destId="{46E20E65-855C-4324-B497-DBD518B1A5BA}" srcOrd="1" destOrd="0" presId="urn:microsoft.com/office/officeart/2005/8/layout/vList3"/>
    <dgm:cxn modelId="{01971D35-C087-4410-AC13-70013C0EB3A5}" type="presParOf" srcId="{B6D2E709-43C3-4372-9A60-C31BB3E97759}" destId="{25EAD606-5E40-4582-B38F-1E8EE298BF83}" srcOrd="1" destOrd="0" presId="urn:microsoft.com/office/officeart/2005/8/layout/vList3"/>
    <dgm:cxn modelId="{D22AF9A1-8A90-4289-BB19-5A8A20F470FC}" type="presParOf" srcId="{B6D2E709-43C3-4372-9A60-C31BB3E97759}" destId="{B1BE86D2-F748-4E78-A3E2-DDCF611587BC}" srcOrd="2" destOrd="0" presId="urn:microsoft.com/office/officeart/2005/8/layout/vList3"/>
    <dgm:cxn modelId="{46D5019B-33F6-4F7A-8642-2FDB963C5A64}" type="presParOf" srcId="{B1BE86D2-F748-4E78-A3E2-DDCF611587BC}" destId="{30D55B19-C7BE-4D05-BA39-90FBD2766692}" srcOrd="0" destOrd="0" presId="urn:microsoft.com/office/officeart/2005/8/layout/vList3"/>
    <dgm:cxn modelId="{98024673-5224-4869-9F65-EF15B8BB6BF9}" type="presParOf" srcId="{B1BE86D2-F748-4E78-A3E2-DDCF611587BC}" destId="{244AEC27-EBC2-4327-92D2-7117A55A720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9C1117CA-290D-414E-8BB3-A688C0CBEE67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779CBBD-E0C7-46AB-A5E8-B4E4A14EF5DF}" type="parTrans" cxnId="{CB705B4E-8991-4F82-B301-E24D881B6D4C}">
      <dgm:prSet/>
      <dgm:spPr/>
      <dgm:t>
        <a:bodyPr/>
        <a:lstStyle/>
        <a:p>
          <a:endParaRPr lang="en-IN"/>
        </a:p>
      </dgm:t>
    </dgm:pt>
    <dgm:pt modelId="{A0D7F317-B83B-4C2C-8139-D3C38AACF4D2}" type="sibTrans" cxnId="{CB705B4E-8991-4F82-B301-E24D881B6D4C}">
      <dgm:prSet/>
      <dgm:spPr/>
      <dgm:t>
        <a:bodyPr/>
        <a:lstStyle/>
        <a:p>
          <a:endParaRPr lang="en-IN"/>
        </a:p>
      </dgm:t>
    </dgm:pt>
    <dgm:pt modelId="{48E4214F-EF29-45ED-B31E-95B260605621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9C16AABF-73BD-4574-A825-F6C323F1103F}" type="parTrans" cxnId="{0FA7BCA7-48DE-4CE0-B7DF-4BF552C7227D}">
      <dgm:prSet/>
      <dgm:spPr/>
      <dgm:t>
        <a:bodyPr/>
        <a:lstStyle/>
        <a:p>
          <a:endParaRPr lang="en-IN"/>
        </a:p>
      </dgm:t>
    </dgm:pt>
    <dgm:pt modelId="{01C14D9A-5E84-4930-8A35-E4ADC19431D5}" type="sibTrans" cxnId="{0FA7BCA7-48DE-4CE0-B7DF-4BF552C7227D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E17C14D4-FFCA-4BDA-A907-C9201057C55A}" type="pres">
      <dgm:prSet presAssocID="{9C1117CA-290D-414E-8BB3-A688C0CBEE67}" presName="node" presStyleLbl="node1" presStyleIdx="6" presStyleCnt="8">
        <dgm:presLayoutVars>
          <dgm:bulletEnabled val="1"/>
        </dgm:presLayoutVars>
      </dgm:prSet>
      <dgm:spPr/>
    </dgm:pt>
    <dgm:pt modelId="{51891AA6-D82D-4607-B757-E018F5A79182}" type="pres">
      <dgm:prSet presAssocID="{A0D7F317-B83B-4C2C-8139-D3C38AACF4D2}" presName="sibTrans" presStyleLbl="sibTrans2D1" presStyleIdx="6" presStyleCnt="8"/>
      <dgm:spPr/>
    </dgm:pt>
    <dgm:pt modelId="{D68F4DD1-13D1-4CCF-B57E-A42CF1A63CD4}" type="pres">
      <dgm:prSet presAssocID="{A0D7F317-B83B-4C2C-8139-D3C38AACF4D2}" presName="connectorText" presStyleLbl="sibTrans2D1" presStyleIdx="6" presStyleCnt="8"/>
      <dgm:spPr/>
    </dgm:pt>
    <dgm:pt modelId="{0776EC72-F232-466F-929A-F917EF3ACB45}" type="pres">
      <dgm:prSet presAssocID="{48E4214F-EF29-45ED-B31E-95B260605621}" presName="node" presStyleLbl="node1" presStyleIdx="7" presStyleCnt="8">
        <dgm:presLayoutVars>
          <dgm:bulletEnabled val="1"/>
        </dgm:presLayoutVars>
      </dgm:prSet>
      <dgm:spPr/>
    </dgm:pt>
    <dgm:pt modelId="{0209D99C-9E15-4648-B8BB-01077438C496}" type="pres">
      <dgm:prSet presAssocID="{01C14D9A-5E84-4930-8A35-E4ADC19431D5}" presName="sibTrans" presStyleLbl="sibTrans2D1" presStyleIdx="7" presStyleCnt="8"/>
      <dgm:spPr/>
    </dgm:pt>
    <dgm:pt modelId="{56652353-EE5A-4130-A0CD-1BACFB7F9160}" type="pres">
      <dgm:prSet presAssocID="{01C14D9A-5E84-4930-8A35-E4ADC19431D5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A0085213-9088-40EE-B9CD-0DC8C35CD0FF}" type="presOf" srcId="{A0D7F317-B83B-4C2C-8139-D3C38AACF4D2}" destId="{51891AA6-D82D-4607-B757-E018F5A79182}" srcOrd="0" destOrd="0" presId="urn:microsoft.com/office/officeart/2005/8/layout/cycle2"/>
    <dgm:cxn modelId="{1F914F1B-4FBA-4845-8566-6B9FA058AED4}" type="presOf" srcId="{01C14D9A-5E84-4930-8A35-E4ADC19431D5}" destId="{0209D99C-9E15-4648-B8BB-01077438C496}" srcOrd="0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A6806524-699A-427E-9CB8-CF5BBD5EE019}" type="presOf" srcId="{01C14D9A-5E84-4930-8A35-E4ADC19431D5}" destId="{56652353-EE5A-4130-A0CD-1BACFB7F9160}" srcOrd="1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2A954D29-8125-44D5-B211-6BF13F5EA9B7}" type="presOf" srcId="{9C1117CA-290D-414E-8BB3-A688C0CBEE67}" destId="{E17C14D4-FFCA-4BDA-A907-C9201057C55A}" srcOrd="0" destOrd="0" presId="urn:microsoft.com/office/officeart/2005/8/layout/cycle2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CB705B4E-8991-4F82-B301-E24D881B6D4C}" srcId="{02173AA6-B6CD-46C0-9D01-E612BAFC085E}" destId="{9C1117CA-290D-414E-8BB3-A688C0CBEE67}" srcOrd="6" destOrd="0" parTransId="{7779CBBD-E0C7-46AB-A5E8-B4E4A14EF5DF}" sibTransId="{A0D7F317-B83B-4C2C-8139-D3C38AACF4D2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0FA7BCA7-48DE-4CE0-B7DF-4BF552C7227D}" srcId="{02173AA6-B6CD-46C0-9D01-E612BAFC085E}" destId="{48E4214F-EF29-45ED-B31E-95B260605621}" srcOrd="7" destOrd="0" parTransId="{9C16AABF-73BD-4574-A825-F6C323F1103F}" sibTransId="{01C14D9A-5E84-4930-8A35-E4ADC19431D5}"/>
    <dgm:cxn modelId="{8CD248C0-5470-458D-A241-0068241FFB15}" type="presOf" srcId="{A0D7F317-B83B-4C2C-8139-D3C38AACF4D2}" destId="{D68F4DD1-13D1-4CCF-B57E-A42CF1A63CD4}" srcOrd="1" destOrd="0" presId="urn:microsoft.com/office/officeart/2005/8/layout/cycle2"/>
    <dgm:cxn modelId="{FB49AFC8-AECB-40E2-9F7D-E7B97FA0B827}" type="presOf" srcId="{48E4214F-EF29-45ED-B31E-95B260605621}" destId="{0776EC72-F232-466F-929A-F917EF3ACB45}" srcOrd="0" destOrd="0" presId="urn:microsoft.com/office/officeart/2005/8/layout/cycle2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E1F21765-AB57-4DB4-B5D4-E23B4F86075B}" type="presParOf" srcId="{22EC839F-B10F-4FDB-B380-57D8A77F5AF2}" destId="{E17C14D4-FFCA-4BDA-A907-C9201057C55A}" srcOrd="12" destOrd="0" presId="urn:microsoft.com/office/officeart/2005/8/layout/cycle2"/>
    <dgm:cxn modelId="{A96E0F08-C65A-49BE-AD26-EB6D15FD4541}" type="presParOf" srcId="{22EC839F-B10F-4FDB-B380-57D8A77F5AF2}" destId="{51891AA6-D82D-4607-B757-E018F5A79182}" srcOrd="13" destOrd="0" presId="urn:microsoft.com/office/officeart/2005/8/layout/cycle2"/>
    <dgm:cxn modelId="{C81A4EF1-D15A-4A65-B971-143D0F000044}" type="presParOf" srcId="{51891AA6-D82D-4607-B757-E018F5A79182}" destId="{D68F4DD1-13D1-4CCF-B57E-A42CF1A63CD4}" srcOrd="0" destOrd="0" presId="urn:microsoft.com/office/officeart/2005/8/layout/cycle2"/>
    <dgm:cxn modelId="{3B05C7A6-A3AA-495E-AF31-561F08A03ED8}" type="presParOf" srcId="{22EC839F-B10F-4FDB-B380-57D8A77F5AF2}" destId="{0776EC72-F232-466F-929A-F917EF3ACB45}" srcOrd="14" destOrd="0" presId="urn:microsoft.com/office/officeart/2005/8/layout/cycle2"/>
    <dgm:cxn modelId="{1510F7E3-A84A-41A5-B960-6A47E15EF3A3}" type="presParOf" srcId="{22EC839F-B10F-4FDB-B380-57D8A77F5AF2}" destId="{0209D99C-9E15-4648-B8BB-01077438C496}" srcOrd="15" destOrd="0" presId="urn:microsoft.com/office/officeart/2005/8/layout/cycle2"/>
    <dgm:cxn modelId="{D8971CE1-E425-4AB3-B554-7987A3DAD190}" type="presParOf" srcId="{0209D99C-9E15-4648-B8BB-01077438C496}" destId="{56652353-EE5A-4130-A0CD-1BACFB7F916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564CF06A-18B0-4022-9D0B-E1AA2039B538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A504B90E-1F3D-49EC-A969-FB64400A55DD}" type="parTrans" cxnId="{78007EA8-FAEB-45BC-9CDF-7ECBABAB005C}">
      <dgm:prSet/>
      <dgm:spPr/>
      <dgm:t>
        <a:bodyPr/>
        <a:lstStyle/>
        <a:p>
          <a:endParaRPr lang="en-IN"/>
        </a:p>
      </dgm:t>
    </dgm:pt>
    <dgm:pt modelId="{4584D535-FFEC-4765-9F6A-7FF8409B2F87}" type="sibTrans" cxnId="{78007EA8-FAEB-45BC-9CDF-7ECBABAB005C}">
      <dgm:prSet/>
      <dgm:spPr/>
      <dgm:t>
        <a:bodyPr/>
        <a:lstStyle/>
        <a:p>
          <a:endParaRPr lang="en-IN"/>
        </a:p>
      </dgm:t>
    </dgm:pt>
    <dgm:pt modelId="{C4BDEFB6-804A-442C-9D2A-F9B250D7A2A5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36D4E1D-7C01-4BB5-9553-DC364EB38BBD}" type="parTrans" cxnId="{626EDB2A-4CD9-48B1-8E5D-EB0E0F187BA5}">
      <dgm:prSet/>
      <dgm:spPr/>
      <dgm:t>
        <a:bodyPr/>
        <a:lstStyle/>
        <a:p>
          <a:endParaRPr lang="en-IN"/>
        </a:p>
      </dgm:t>
    </dgm:pt>
    <dgm:pt modelId="{EA15E490-A71E-45ED-8FB2-DCF1E6164FC4}" type="sibTrans" cxnId="{626EDB2A-4CD9-48B1-8E5D-EB0E0F187BA5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F92C08AE-A473-4D33-A890-F3DAD2D8201A}" type="pres">
      <dgm:prSet presAssocID="{564CF06A-18B0-4022-9D0B-E1AA2039B538}" presName="node" presStyleLbl="node1" presStyleIdx="6" presStyleCnt="8">
        <dgm:presLayoutVars>
          <dgm:bulletEnabled val="1"/>
        </dgm:presLayoutVars>
      </dgm:prSet>
      <dgm:spPr/>
    </dgm:pt>
    <dgm:pt modelId="{AF2E5A4C-7EBA-478E-9D47-AAB665F0C2A7}" type="pres">
      <dgm:prSet presAssocID="{4584D535-FFEC-4765-9F6A-7FF8409B2F87}" presName="sibTrans" presStyleLbl="sibTrans2D1" presStyleIdx="6" presStyleCnt="8"/>
      <dgm:spPr/>
    </dgm:pt>
    <dgm:pt modelId="{BEC4CAA9-414F-4BEE-8FF4-EF51A69844CC}" type="pres">
      <dgm:prSet presAssocID="{4584D535-FFEC-4765-9F6A-7FF8409B2F87}" presName="connectorText" presStyleLbl="sibTrans2D1" presStyleIdx="6" presStyleCnt="8"/>
      <dgm:spPr/>
    </dgm:pt>
    <dgm:pt modelId="{42FAD89C-1F8A-41E9-B288-97F6F53080C4}" type="pres">
      <dgm:prSet presAssocID="{C4BDEFB6-804A-442C-9D2A-F9B250D7A2A5}" presName="node" presStyleLbl="node1" presStyleIdx="7" presStyleCnt="8">
        <dgm:presLayoutVars>
          <dgm:bulletEnabled val="1"/>
        </dgm:presLayoutVars>
      </dgm:prSet>
      <dgm:spPr/>
    </dgm:pt>
    <dgm:pt modelId="{CB49D72C-4962-474F-A047-4A849AF2191E}" type="pres">
      <dgm:prSet presAssocID="{EA15E490-A71E-45ED-8FB2-DCF1E6164FC4}" presName="sibTrans" presStyleLbl="sibTrans2D1" presStyleIdx="7" presStyleCnt="8"/>
      <dgm:spPr/>
    </dgm:pt>
    <dgm:pt modelId="{6AA39DFC-8486-46E8-80A0-5A0AD3166734}" type="pres">
      <dgm:prSet presAssocID="{EA15E490-A71E-45ED-8FB2-DCF1E6164FC4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ECFCC818-D7C6-43BE-B219-6CBB8BD1E9BF}" type="presOf" srcId="{564CF06A-18B0-4022-9D0B-E1AA2039B538}" destId="{F92C08AE-A473-4D33-A890-F3DAD2D8201A}" srcOrd="0" destOrd="0" presId="urn:microsoft.com/office/officeart/2005/8/layout/cycle2"/>
    <dgm:cxn modelId="{5B554B1A-B187-4057-9752-24125CFD11F0}" type="presOf" srcId="{4584D535-FFEC-4765-9F6A-7FF8409B2F87}" destId="{BEC4CAA9-414F-4BEE-8FF4-EF51A69844CC}" srcOrd="1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50A24021-15FD-43A6-9450-E2F2F2677CDA}" type="presOf" srcId="{C4BDEFB6-804A-442C-9D2A-F9B250D7A2A5}" destId="{42FAD89C-1F8A-41E9-B288-97F6F53080C4}" srcOrd="0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626EDB2A-4CD9-48B1-8E5D-EB0E0F187BA5}" srcId="{02173AA6-B6CD-46C0-9D01-E612BAFC085E}" destId="{C4BDEFB6-804A-442C-9D2A-F9B250D7A2A5}" srcOrd="7" destOrd="0" parTransId="{736D4E1D-7C01-4BB5-9553-DC364EB38BBD}" sibTransId="{EA15E490-A71E-45ED-8FB2-DCF1E6164FC4}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AF159C96-FC65-4EBB-88C5-086B8EAAA7DC}" type="presOf" srcId="{EA15E490-A71E-45ED-8FB2-DCF1E6164FC4}" destId="{CB49D72C-4962-474F-A047-4A849AF2191E}" srcOrd="0" destOrd="0" presId="urn:microsoft.com/office/officeart/2005/8/layout/cycle2"/>
    <dgm:cxn modelId="{E73927A5-FD3C-48F5-A9A2-4CD3A0EF92E9}" type="presOf" srcId="{4584D535-FFEC-4765-9F6A-7FF8409B2F87}" destId="{AF2E5A4C-7EBA-478E-9D47-AAB665F0C2A7}" srcOrd="0" destOrd="0" presId="urn:microsoft.com/office/officeart/2005/8/layout/cycle2"/>
    <dgm:cxn modelId="{78007EA8-FAEB-45BC-9CDF-7ECBABAB005C}" srcId="{02173AA6-B6CD-46C0-9D01-E612BAFC085E}" destId="{564CF06A-18B0-4022-9D0B-E1AA2039B538}" srcOrd="6" destOrd="0" parTransId="{A504B90E-1F3D-49EC-A969-FB64400A55DD}" sibTransId="{4584D535-FFEC-4765-9F6A-7FF8409B2F87}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C651AAFD-EB3D-46AC-A235-AC5105CC9C9D}" type="presOf" srcId="{EA15E490-A71E-45ED-8FB2-DCF1E6164FC4}" destId="{6AA39DFC-8486-46E8-80A0-5A0AD3166734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379289D3-A839-43CD-A364-E5E0439DEA0D}" type="presParOf" srcId="{22EC839F-B10F-4FDB-B380-57D8A77F5AF2}" destId="{F92C08AE-A473-4D33-A890-F3DAD2D8201A}" srcOrd="12" destOrd="0" presId="urn:microsoft.com/office/officeart/2005/8/layout/cycle2"/>
    <dgm:cxn modelId="{5A1BCE37-765E-4632-8600-1A0999EF563B}" type="presParOf" srcId="{22EC839F-B10F-4FDB-B380-57D8A77F5AF2}" destId="{AF2E5A4C-7EBA-478E-9D47-AAB665F0C2A7}" srcOrd="13" destOrd="0" presId="urn:microsoft.com/office/officeart/2005/8/layout/cycle2"/>
    <dgm:cxn modelId="{75914F01-6471-4684-B2BB-5C380BF7FBB1}" type="presParOf" srcId="{AF2E5A4C-7EBA-478E-9D47-AAB665F0C2A7}" destId="{BEC4CAA9-414F-4BEE-8FF4-EF51A69844CC}" srcOrd="0" destOrd="0" presId="urn:microsoft.com/office/officeart/2005/8/layout/cycle2"/>
    <dgm:cxn modelId="{02BD0D8A-822E-443A-A97B-1CD8EA73EB11}" type="presParOf" srcId="{22EC839F-B10F-4FDB-B380-57D8A77F5AF2}" destId="{42FAD89C-1F8A-41E9-B288-97F6F53080C4}" srcOrd="14" destOrd="0" presId="urn:microsoft.com/office/officeart/2005/8/layout/cycle2"/>
    <dgm:cxn modelId="{1A802548-30F9-4490-9EBE-2897BEF3C3A3}" type="presParOf" srcId="{22EC839F-B10F-4FDB-B380-57D8A77F5AF2}" destId="{CB49D72C-4962-474F-A047-4A849AF2191E}" srcOrd="15" destOrd="0" presId="urn:microsoft.com/office/officeart/2005/8/layout/cycle2"/>
    <dgm:cxn modelId="{4BE2ECA9-D78A-401C-B963-ED7048E8D5BD}" type="presParOf" srcId="{CB49D72C-4962-474F-A047-4A849AF2191E}" destId="{6AA39DFC-8486-46E8-80A0-5A0AD3166734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9C1117CA-290D-414E-8BB3-A688C0CBEE67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779CBBD-E0C7-46AB-A5E8-B4E4A14EF5DF}" type="parTrans" cxnId="{CB705B4E-8991-4F82-B301-E24D881B6D4C}">
      <dgm:prSet/>
      <dgm:spPr/>
      <dgm:t>
        <a:bodyPr/>
        <a:lstStyle/>
        <a:p>
          <a:endParaRPr lang="en-IN"/>
        </a:p>
      </dgm:t>
    </dgm:pt>
    <dgm:pt modelId="{A0D7F317-B83B-4C2C-8139-D3C38AACF4D2}" type="sibTrans" cxnId="{CB705B4E-8991-4F82-B301-E24D881B6D4C}">
      <dgm:prSet/>
      <dgm:spPr/>
      <dgm:t>
        <a:bodyPr/>
        <a:lstStyle/>
        <a:p>
          <a:endParaRPr lang="en-IN"/>
        </a:p>
      </dgm:t>
    </dgm:pt>
    <dgm:pt modelId="{48E4214F-EF29-45ED-B31E-95B260605621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9C16AABF-73BD-4574-A825-F6C323F1103F}" type="parTrans" cxnId="{0FA7BCA7-48DE-4CE0-B7DF-4BF552C7227D}">
      <dgm:prSet/>
      <dgm:spPr/>
      <dgm:t>
        <a:bodyPr/>
        <a:lstStyle/>
        <a:p>
          <a:endParaRPr lang="en-IN"/>
        </a:p>
      </dgm:t>
    </dgm:pt>
    <dgm:pt modelId="{01C14D9A-5E84-4930-8A35-E4ADC19431D5}" type="sibTrans" cxnId="{0FA7BCA7-48DE-4CE0-B7DF-4BF552C7227D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E17C14D4-FFCA-4BDA-A907-C9201057C55A}" type="pres">
      <dgm:prSet presAssocID="{9C1117CA-290D-414E-8BB3-A688C0CBEE67}" presName="node" presStyleLbl="node1" presStyleIdx="6" presStyleCnt="8">
        <dgm:presLayoutVars>
          <dgm:bulletEnabled val="1"/>
        </dgm:presLayoutVars>
      </dgm:prSet>
      <dgm:spPr/>
    </dgm:pt>
    <dgm:pt modelId="{51891AA6-D82D-4607-B757-E018F5A79182}" type="pres">
      <dgm:prSet presAssocID="{A0D7F317-B83B-4C2C-8139-D3C38AACF4D2}" presName="sibTrans" presStyleLbl="sibTrans2D1" presStyleIdx="6" presStyleCnt="8"/>
      <dgm:spPr/>
    </dgm:pt>
    <dgm:pt modelId="{D68F4DD1-13D1-4CCF-B57E-A42CF1A63CD4}" type="pres">
      <dgm:prSet presAssocID="{A0D7F317-B83B-4C2C-8139-D3C38AACF4D2}" presName="connectorText" presStyleLbl="sibTrans2D1" presStyleIdx="6" presStyleCnt="8"/>
      <dgm:spPr/>
    </dgm:pt>
    <dgm:pt modelId="{0776EC72-F232-466F-929A-F917EF3ACB45}" type="pres">
      <dgm:prSet presAssocID="{48E4214F-EF29-45ED-B31E-95B260605621}" presName="node" presStyleLbl="node1" presStyleIdx="7" presStyleCnt="8">
        <dgm:presLayoutVars>
          <dgm:bulletEnabled val="1"/>
        </dgm:presLayoutVars>
      </dgm:prSet>
      <dgm:spPr/>
    </dgm:pt>
    <dgm:pt modelId="{0209D99C-9E15-4648-B8BB-01077438C496}" type="pres">
      <dgm:prSet presAssocID="{01C14D9A-5E84-4930-8A35-E4ADC19431D5}" presName="sibTrans" presStyleLbl="sibTrans2D1" presStyleIdx="7" presStyleCnt="8"/>
      <dgm:spPr/>
    </dgm:pt>
    <dgm:pt modelId="{56652353-EE5A-4130-A0CD-1BACFB7F9160}" type="pres">
      <dgm:prSet presAssocID="{01C14D9A-5E84-4930-8A35-E4ADC19431D5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A0085213-9088-40EE-B9CD-0DC8C35CD0FF}" type="presOf" srcId="{A0D7F317-B83B-4C2C-8139-D3C38AACF4D2}" destId="{51891AA6-D82D-4607-B757-E018F5A79182}" srcOrd="0" destOrd="0" presId="urn:microsoft.com/office/officeart/2005/8/layout/cycle2"/>
    <dgm:cxn modelId="{1F914F1B-4FBA-4845-8566-6B9FA058AED4}" type="presOf" srcId="{01C14D9A-5E84-4930-8A35-E4ADC19431D5}" destId="{0209D99C-9E15-4648-B8BB-01077438C496}" srcOrd="0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A6806524-699A-427E-9CB8-CF5BBD5EE019}" type="presOf" srcId="{01C14D9A-5E84-4930-8A35-E4ADC19431D5}" destId="{56652353-EE5A-4130-A0CD-1BACFB7F9160}" srcOrd="1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2A954D29-8125-44D5-B211-6BF13F5EA9B7}" type="presOf" srcId="{9C1117CA-290D-414E-8BB3-A688C0CBEE67}" destId="{E17C14D4-FFCA-4BDA-A907-C9201057C55A}" srcOrd="0" destOrd="0" presId="urn:microsoft.com/office/officeart/2005/8/layout/cycle2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CB705B4E-8991-4F82-B301-E24D881B6D4C}" srcId="{02173AA6-B6CD-46C0-9D01-E612BAFC085E}" destId="{9C1117CA-290D-414E-8BB3-A688C0CBEE67}" srcOrd="6" destOrd="0" parTransId="{7779CBBD-E0C7-46AB-A5E8-B4E4A14EF5DF}" sibTransId="{A0D7F317-B83B-4C2C-8139-D3C38AACF4D2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0FA7BCA7-48DE-4CE0-B7DF-4BF552C7227D}" srcId="{02173AA6-B6CD-46C0-9D01-E612BAFC085E}" destId="{48E4214F-EF29-45ED-B31E-95B260605621}" srcOrd="7" destOrd="0" parTransId="{9C16AABF-73BD-4574-A825-F6C323F1103F}" sibTransId="{01C14D9A-5E84-4930-8A35-E4ADC19431D5}"/>
    <dgm:cxn modelId="{8CD248C0-5470-458D-A241-0068241FFB15}" type="presOf" srcId="{A0D7F317-B83B-4C2C-8139-D3C38AACF4D2}" destId="{D68F4DD1-13D1-4CCF-B57E-A42CF1A63CD4}" srcOrd="1" destOrd="0" presId="urn:microsoft.com/office/officeart/2005/8/layout/cycle2"/>
    <dgm:cxn modelId="{FB49AFC8-AECB-40E2-9F7D-E7B97FA0B827}" type="presOf" srcId="{48E4214F-EF29-45ED-B31E-95B260605621}" destId="{0776EC72-F232-466F-929A-F917EF3ACB45}" srcOrd="0" destOrd="0" presId="urn:microsoft.com/office/officeart/2005/8/layout/cycle2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E1F21765-AB57-4DB4-B5D4-E23B4F86075B}" type="presParOf" srcId="{22EC839F-B10F-4FDB-B380-57D8A77F5AF2}" destId="{E17C14D4-FFCA-4BDA-A907-C9201057C55A}" srcOrd="12" destOrd="0" presId="urn:microsoft.com/office/officeart/2005/8/layout/cycle2"/>
    <dgm:cxn modelId="{A96E0F08-C65A-49BE-AD26-EB6D15FD4541}" type="presParOf" srcId="{22EC839F-B10F-4FDB-B380-57D8A77F5AF2}" destId="{51891AA6-D82D-4607-B757-E018F5A79182}" srcOrd="13" destOrd="0" presId="urn:microsoft.com/office/officeart/2005/8/layout/cycle2"/>
    <dgm:cxn modelId="{C81A4EF1-D15A-4A65-B971-143D0F000044}" type="presParOf" srcId="{51891AA6-D82D-4607-B757-E018F5A79182}" destId="{D68F4DD1-13D1-4CCF-B57E-A42CF1A63CD4}" srcOrd="0" destOrd="0" presId="urn:microsoft.com/office/officeart/2005/8/layout/cycle2"/>
    <dgm:cxn modelId="{3B05C7A6-A3AA-495E-AF31-561F08A03ED8}" type="presParOf" srcId="{22EC839F-B10F-4FDB-B380-57D8A77F5AF2}" destId="{0776EC72-F232-466F-929A-F917EF3ACB45}" srcOrd="14" destOrd="0" presId="urn:microsoft.com/office/officeart/2005/8/layout/cycle2"/>
    <dgm:cxn modelId="{1510F7E3-A84A-41A5-B960-6A47E15EF3A3}" type="presParOf" srcId="{22EC839F-B10F-4FDB-B380-57D8A77F5AF2}" destId="{0209D99C-9E15-4648-B8BB-01077438C496}" srcOrd="15" destOrd="0" presId="urn:microsoft.com/office/officeart/2005/8/layout/cycle2"/>
    <dgm:cxn modelId="{D8971CE1-E425-4AB3-B554-7987A3DAD190}" type="presParOf" srcId="{0209D99C-9E15-4648-B8BB-01077438C496}" destId="{56652353-EE5A-4130-A0CD-1BACFB7F916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564CF06A-18B0-4022-9D0B-E1AA2039B538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A504B90E-1F3D-49EC-A969-FB64400A55DD}" type="parTrans" cxnId="{78007EA8-FAEB-45BC-9CDF-7ECBABAB005C}">
      <dgm:prSet/>
      <dgm:spPr/>
      <dgm:t>
        <a:bodyPr/>
        <a:lstStyle/>
        <a:p>
          <a:endParaRPr lang="en-IN"/>
        </a:p>
      </dgm:t>
    </dgm:pt>
    <dgm:pt modelId="{4584D535-FFEC-4765-9F6A-7FF8409B2F87}" type="sibTrans" cxnId="{78007EA8-FAEB-45BC-9CDF-7ECBABAB005C}">
      <dgm:prSet/>
      <dgm:spPr/>
      <dgm:t>
        <a:bodyPr/>
        <a:lstStyle/>
        <a:p>
          <a:endParaRPr lang="en-IN"/>
        </a:p>
      </dgm:t>
    </dgm:pt>
    <dgm:pt modelId="{C4BDEFB6-804A-442C-9D2A-F9B250D7A2A5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36D4E1D-7C01-4BB5-9553-DC364EB38BBD}" type="parTrans" cxnId="{626EDB2A-4CD9-48B1-8E5D-EB0E0F187BA5}">
      <dgm:prSet/>
      <dgm:spPr/>
      <dgm:t>
        <a:bodyPr/>
        <a:lstStyle/>
        <a:p>
          <a:endParaRPr lang="en-IN"/>
        </a:p>
      </dgm:t>
    </dgm:pt>
    <dgm:pt modelId="{EA15E490-A71E-45ED-8FB2-DCF1E6164FC4}" type="sibTrans" cxnId="{626EDB2A-4CD9-48B1-8E5D-EB0E0F187BA5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F92C08AE-A473-4D33-A890-F3DAD2D8201A}" type="pres">
      <dgm:prSet presAssocID="{564CF06A-18B0-4022-9D0B-E1AA2039B538}" presName="node" presStyleLbl="node1" presStyleIdx="6" presStyleCnt="8">
        <dgm:presLayoutVars>
          <dgm:bulletEnabled val="1"/>
        </dgm:presLayoutVars>
      </dgm:prSet>
      <dgm:spPr/>
    </dgm:pt>
    <dgm:pt modelId="{AF2E5A4C-7EBA-478E-9D47-AAB665F0C2A7}" type="pres">
      <dgm:prSet presAssocID="{4584D535-FFEC-4765-9F6A-7FF8409B2F87}" presName="sibTrans" presStyleLbl="sibTrans2D1" presStyleIdx="6" presStyleCnt="8"/>
      <dgm:spPr/>
    </dgm:pt>
    <dgm:pt modelId="{BEC4CAA9-414F-4BEE-8FF4-EF51A69844CC}" type="pres">
      <dgm:prSet presAssocID="{4584D535-FFEC-4765-9F6A-7FF8409B2F87}" presName="connectorText" presStyleLbl="sibTrans2D1" presStyleIdx="6" presStyleCnt="8"/>
      <dgm:spPr/>
    </dgm:pt>
    <dgm:pt modelId="{42FAD89C-1F8A-41E9-B288-97F6F53080C4}" type="pres">
      <dgm:prSet presAssocID="{C4BDEFB6-804A-442C-9D2A-F9B250D7A2A5}" presName="node" presStyleLbl="node1" presStyleIdx="7" presStyleCnt="8">
        <dgm:presLayoutVars>
          <dgm:bulletEnabled val="1"/>
        </dgm:presLayoutVars>
      </dgm:prSet>
      <dgm:spPr/>
    </dgm:pt>
    <dgm:pt modelId="{CB49D72C-4962-474F-A047-4A849AF2191E}" type="pres">
      <dgm:prSet presAssocID="{EA15E490-A71E-45ED-8FB2-DCF1E6164FC4}" presName="sibTrans" presStyleLbl="sibTrans2D1" presStyleIdx="7" presStyleCnt="8"/>
      <dgm:spPr/>
    </dgm:pt>
    <dgm:pt modelId="{6AA39DFC-8486-46E8-80A0-5A0AD3166734}" type="pres">
      <dgm:prSet presAssocID="{EA15E490-A71E-45ED-8FB2-DCF1E6164FC4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ECFCC818-D7C6-43BE-B219-6CBB8BD1E9BF}" type="presOf" srcId="{564CF06A-18B0-4022-9D0B-E1AA2039B538}" destId="{F92C08AE-A473-4D33-A890-F3DAD2D8201A}" srcOrd="0" destOrd="0" presId="urn:microsoft.com/office/officeart/2005/8/layout/cycle2"/>
    <dgm:cxn modelId="{5B554B1A-B187-4057-9752-24125CFD11F0}" type="presOf" srcId="{4584D535-FFEC-4765-9F6A-7FF8409B2F87}" destId="{BEC4CAA9-414F-4BEE-8FF4-EF51A69844CC}" srcOrd="1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50A24021-15FD-43A6-9450-E2F2F2677CDA}" type="presOf" srcId="{C4BDEFB6-804A-442C-9D2A-F9B250D7A2A5}" destId="{42FAD89C-1F8A-41E9-B288-97F6F53080C4}" srcOrd="0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626EDB2A-4CD9-48B1-8E5D-EB0E0F187BA5}" srcId="{02173AA6-B6CD-46C0-9D01-E612BAFC085E}" destId="{C4BDEFB6-804A-442C-9D2A-F9B250D7A2A5}" srcOrd="7" destOrd="0" parTransId="{736D4E1D-7C01-4BB5-9553-DC364EB38BBD}" sibTransId="{EA15E490-A71E-45ED-8FB2-DCF1E6164FC4}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AF159C96-FC65-4EBB-88C5-086B8EAAA7DC}" type="presOf" srcId="{EA15E490-A71E-45ED-8FB2-DCF1E6164FC4}" destId="{CB49D72C-4962-474F-A047-4A849AF2191E}" srcOrd="0" destOrd="0" presId="urn:microsoft.com/office/officeart/2005/8/layout/cycle2"/>
    <dgm:cxn modelId="{E73927A5-FD3C-48F5-A9A2-4CD3A0EF92E9}" type="presOf" srcId="{4584D535-FFEC-4765-9F6A-7FF8409B2F87}" destId="{AF2E5A4C-7EBA-478E-9D47-AAB665F0C2A7}" srcOrd="0" destOrd="0" presId="urn:microsoft.com/office/officeart/2005/8/layout/cycle2"/>
    <dgm:cxn modelId="{78007EA8-FAEB-45BC-9CDF-7ECBABAB005C}" srcId="{02173AA6-B6CD-46C0-9D01-E612BAFC085E}" destId="{564CF06A-18B0-4022-9D0B-E1AA2039B538}" srcOrd="6" destOrd="0" parTransId="{A504B90E-1F3D-49EC-A969-FB64400A55DD}" sibTransId="{4584D535-FFEC-4765-9F6A-7FF8409B2F87}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C651AAFD-EB3D-46AC-A235-AC5105CC9C9D}" type="presOf" srcId="{EA15E490-A71E-45ED-8FB2-DCF1E6164FC4}" destId="{6AA39DFC-8486-46E8-80A0-5A0AD3166734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379289D3-A839-43CD-A364-E5E0439DEA0D}" type="presParOf" srcId="{22EC839F-B10F-4FDB-B380-57D8A77F5AF2}" destId="{F92C08AE-A473-4D33-A890-F3DAD2D8201A}" srcOrd="12" destOrd="0" presId="urn:microsoft.com/office/officeart/2005/8/layout/cycle2"/>
    <dgm:cxn modelId="{5A1BCE37-765E-4632-8600-1A0999EF563B}" type="presParOf" srcId="{22EC839F-B10F-4FDB-B380-57D8A77F5AF2}" destId="{AF2E5A4C-7EBA-478E-9D47-AAB665F0C2A7}" srcOrd="13" destOrd="0" presId="urn:microsoft.com/office/officeart/2005/8/layout/cycle2"/>
    <dgm:cxn modelId="{75914F01-6471-4684-B2BB-5C380BF7FBB1}" type="presParOf" srcId="{AF2E5A4C-7EBA-478E-9D47-AAB665F0C2A7}" destId="{BEC4CAA9-414F-4BEE-8FF4-EF51A69844CC}" srcOrd="0" destOrd="0" presId="urn:microsoft.com/office/officeart/2005/8/layout/cycle2"/>
    <dgm:cxn modelId="{02BD0D8A-822E-443A-A97B-1CD8EA73EB11}" type="presParOf" srcId="{22EC839F-B10F-4FDB-B380-57D8A77F5AF2}" destId="{42FAD89C-1F8A-41E9-B288-97F6F53080C4}" srcOrd="14" destOrd="0" presId="urn:microsoft.com/office/officeart/2005/8/layout/cycle2"/>
    <dgm:cxn modelId="{1A802548-30F9-4490-9EBE-2897BEF3C3A3}" type="presParOf" srcId="{22EC839F-B10F-4FDB-B380-57D8A77F5AF2}" destId="{CB49D72C-4962-474F-A047-4A849AF2191E}" srcOrd="15" destOrd="0" presId="urn:microsoft.com/office/officeart/2005/8/layout/cycle2"/>
    <dgm:cxn modelId="{4BE2ECA9-D78A-401C-B963-ED7048E8D5BD}" type="presParOf" srcId="{CB49D72C-4962-474F-A047-4A849AF2191E}" destId="{6AA39DFC-8486-46E8-80A0-5A0AD3166734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67C8E2-4F29-4C78-B8C9-FA489BB5DDEB}">
      <dsp:nvSpPr>
        <dsp:cNvPr id="0" name=""/>
        <dsp:cNvSpPr/>
      </dsp:nvSpPr>
      <dsp:spPr>
        <a:xfrm rot="10800000">
          <a:off x="539560" y="643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/>
            <a:t>Production</a:t>
          </a:r>
        </a:p>
      </dsp:txBody>
      <dsp:txXfrm rot="10800000">
        <a:off x="648145" y="643"/>
        <a:ext cx="1602451" cy="434342"/>
      </dsp:txXfrm>
    </dsp:sp>
    <dsp:sp modelId="{82EED5DD-D800-4271-91E0-F0C0D1D31119}">
      <dsp:nvSpPr>
        <dsp:cNvPr id="0" name=""/>
        <dsp:cNvSpPr/>
      </dsp:nvSpPr>
      <dsp:spPr>
        <a:xfrm>
          <a:off x="322389" y="643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A6A563-4798-42BE-BE95-410423B610EB}">
      <dsp:nvSpPr>
        <dsp:cNvPr id="0" name=""/>
        <dsp:cNvSpPr/>
      </dsp:nvSpPr>
      <dsp:spPr>
        <a:xfrm rot="10800000">
          <a:off x="539560" y="564640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/>
            <a:t>Dev</a:t>
          </a:r>
        </a:p>
      </dsp:txBody>
      <dsp:txXfrm rot="10800000">
        <a:off x="648145" y="564640"/>
        <a:ext cx="1602451" cy="434342"/>
      </dsp:txXfrm>
    </dsp:sp>
    <dsp:sp modelId="{155BDDA0-008B-42F0-8165-A91C29C15BBE}">
      <dsp:nvSpPr>
        <dsp:cNvPr id="0" name=""/>
        <dsp:cNvSpPr/>
      </dsp:nvSpPr>
      <dsp:spPr>
        <a:xfrm>
          <a:off x="322389" y="564640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4A3D6A-1C7E-47E8-8151-EDD8070A50C4}">
      <dsp:nvSpPr>
        <dsp:cNvPr id="0" name=""/>
        <dsp:cNvSpPr/>
      </dsp:nvSpPr>
      <dsp:spPr>
        <a:xfrm rot="10800000">
          <a:off x="549176" y="1129153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/>
            <a:t>UAT</a:t>
          </a:r>
        </a:p>
      </dsp:txBody>
      <dsp:txXfrm rot="10800000">
        <a:off x="657761" y="1129153"/>
        <a:ext cx="1602451" cy="434342"/>
      </dsp:txXfrm>
    </dsp:sp>
    <dsp:sp modelId="{DE88FD75-0DAB-4C79-8466-98B97AC489A6}">
      <dsp:nvSpPr>
        <dsp:cNvPr id="0" name=""/>
        <dsp:cNvSpPr/>
      </dsp:nvSpPr>
      <dsp:spPr>
        <a:xfrm>
          <a:off x="322389" y="1128637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98F959-8F79-4928-914A-2AA8928AFEE9}">
      <dsp:nvSpPr>
        <dsp:cNvPr id="0" name=""/>
        <dsp:cNvSpPr/>
      </dsp:nvSpPr>
      <dsp:spPr>
        <a:xfrm rot="5400000">
          <a:off x="2137759" y="77516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Running Batch Job</a:t>
          </a:r>
        </a:p>
      </dsp:txBody>
      <dsp:txXfrm rot="-5400000">
        <a:off x="2374341" y="184656"/>
        <a:ext cx="706357" cy="811903"/>
      </dsp:txXfrm>
    </dsp:sp>
    <dsp:sp modelId="{6EED286F-3A53-4C65-AF94-AF298584AA81}">
      <dsp:nvSpPr>
        <dsp:cNvPr id="0" name=""/>
        <dsp:cNvSpPr/>
      </dsp:nvSpPr>
      <dsp:spPr>
        <a:xfrm>
          <a:off x="2623279" y="1357280"/>
          <a:ext cx="1316345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100" kern="1200" dirty="0"/>
        </a:p>
      </dsp:txBody>
      <dsp:txXfrm>
        <a:off x="2623279" y="1357280"/>
        <a:ext cx="1316345" cy="707712"/>
      </dsp:txXfrm>
    </dsp:sp>
    <dsp:sp modelId="{DBBA8E4C-45EA-4067-B384-BA3EB2EF77D7}">
      <dsp:nvSpPr>
        <dsp:cNvPr id="0" name=""/>
        <dsp:cNvSpPr/>
      </dsp:nvSpPr>
      <dsp:spPr>
        <a:xfrm rot="5400000">
          <a:off x="1029481" y="77516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/>
            <a:t>Report generate</a:t>
          </a:r>
        </a:p>
      </dsp:txBody>
      <dsp:txXfrm rot="-5400000">
        <a:off x="1266063" y="184656"/>
        <a:ext cx="706357" cy="811903"/>
      </dsp:txXfrm>
    </dsp:sp>
    <dsp:sp modelId="{F94D12F6-F126-40B4-9C04-FAA643890473}">
      <dsp:nvSpPr>
        <dsp:cNvPr id="0" name=""/>
        <dsp:cNvSpPr/>
      </dsp:nvSpPr>
      <dsp:spPr>
        <a:xfrm rot="5400000">
          <a:off x="1607675" y="1078694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Records inspection</a:t>
          </a:r>
        </a:p>
      </dsp:txBody>
      <dsp:txXfrm rot="-5400000">
        <a:off x="1844257" y="1185834"/>
        <a:ext cx="706357" cy="811903"/>
      </dsp:txXfrm>
    </dsp:sp>
    <dsp:sp modelId="{576AB72B-CCAF-4A81-B67C-CA17B481EFEE}">
      <dsp:nvSpPr>
        <dsp:cNvPr id="0" name=""/>
        <dsp:cNvSpPr/>
      </dsp:nvSpPr>
      <dsp:spPr>
        <a:xfrm>
          <a:off x="0" y="1237943"/>
          <a:ext cx="1378596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>
              <a:solidFill>
                <a:srgbClr val="89FFF7"/>
              </a:solidFill>
            </a:rPr>
            <a:t>Administrative</a:t>
          </a:r>
        </a:p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>
              <a:solidFill>
                <a:srgbClr val="89FFF7"/>
              </a:solidFill>
            </a:rPr>
            <a:t>task</a:t>
          </a:r>
        </a:p>
      </dsp:txBody>
      <dsp:txXfrm>
        <a:off x="0" y="1237943"/>
        <a:ext cx="1378596" cy="707712"/>
      </dsp:txXfrm>
    </dsp:sp>
    <dsp:sp modelId="{544991FC-D38A-4CD2-8205-9FF5517B468C}">
      <dsp:nvSpPr>
        <dsp:cNvPr id="0" name=""/>
        <dsp:cNvSpPr/>
      </dsp:nvSpPr>
      <dsp:spPr>
        <a:xfrm rot="5400000">
          <a:off x="2715953" y="1078694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kern="1200" dirty="0"/>
            <a:t>Clean-up Cache</a:t>
          </a:r>
        </a:p>
      </dsp:txBody>
      <dsp:txXfrm rot="-5400000">
        <a:off x="2952535" y="1185834"/>
        <a:ext cx="706357" cy="811903"/>
      </dsp:txXfrm>
    </dsp:sp>
    <dsp:sp modelId="{44797733-1BBC-411C-92F4-B700C3D4F95C}">
      <dsp:nvSpPr>
        <dsp:cNvPr id="0" name=""/>
        <dsp:cNvSpPr/>
      </dsp:nvSpPr>
      <dsp:spPr>
        <a:xfrm rot="5400000">
          <a:off x="2137759" y="2079871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Check database</a:t>
          </a:r>
        </a:p>
      </dsp:txBody>
      <dsp:txXfrm rot="-5400000">
        <a:off x="2374341" y="2187011"/>
        <a:ext cx="706357" cy="811903"/>
      </dsp:txXfrm>
    </dsp:sp>
    <dsp:sp modelId="{E76D2295-EF18-47AD-8A10-EBBEC9CE0B8B}">
      <dsp:nvSpPr>
        <dsp:cNvPr id="0" name=""/>
        <dsp:cNvSpPr/>
      </dsp:nvSpPr>
      <dsp:spPr>
        <a:xfrm>
          <a:off x="3271750" y="2239107"/>
          <a:ext cx="1316345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18F5E0-FF9D-4902-8198-A6FA96AA2B57}">
      <dsp:nvSpPr>
        <dsp:cNvPr id="0" name=""/>
        <dsp:cNvSpPr/>
      </dsp:nvSpPr>
      <dsp:spPr>
        <a:xfrm rot="5400000">
          <a:off x="1029481" y="2079871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kern="1200" dirty="0"/>
            <a:t>Asynchronous method call</a:t>
          </a:r>
        </a:p>
      </dsp:txBody>
      <dsp:txXfrm rot="-5400000">
        <a:off x="1266063" y="2187011"/>
        <a:ext cx="706357" cy="8119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67C8E2-4F29-4C78-B8C9-FA489BB5DDEB}">
      <dsp:nvSpPr>
        <dsp:cNvPr id="0" name=""/>
        <dsp:cNvSpPr/>
      </dsp:nvSpPr>
      <dsp:spPr>
        <a:xfrm rot="10800000">
          <a:off x="648784" y="774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 dirty="0"/>
            <a:t>Production</a:t>
          </a:r>
        </a:p>
      </dsp:txBody>
      <dsp:txXfrm rot="10800000">
        <a:off x="779350" y="774"/>
        <a:ext cx="1926835" cy="522266"/>
      </dsp:txXfrm>
    </dsp:sp>
    <dsp:sp modelId="{82EED5DD-D800-4271-91E0-F0C0D1D31119}">
      <dsp:nvSpPr>
        <dsp:cNvPr id="0" name=""/>
        <dsp:cNvSpPr/>
      </dsp:nvSpPr>
      <dsp:spPr>
        <a:xfrm>
          <a:off x="387651" y="774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A6A563-4798-42BE-BE95-410423B610EB}">
      <dsp:nvSpPr>
        <dsp:cNvPr id="0" name=""/>
        <dsp:cNvSpPr/>
      </dsp:nvSpPr>
      <dsp:spPr>
        <a:xfrm rot="10800000">
          <a:off x="648784" y="678940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 dirty="0"/>
            <a:t>Dev</a:t>
          </a:r>
        </a:p>
      </dsp:txBody>
      <dsp:txXfrm rot="10800000">
        <a:off x="779350" y="678940"/>
        <a:ext cx="1926835" cy="522266"/>
      </dsp:txXfrm>
    </dsp:sp>
    <dsp:sp modelId="{155BDDA0-008B-42F0-8165-A91C29C15BBE}">
      <dsp:nvSpPr>
        <dsp:cNvPr id="0" name=""/>
        <dsp:cNvSpPr/>
      </dsp:nvSpPr>
      <dsp:spPr>
        <a:xfrm>
          <a:off x="387651" y="678940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4A3D6A-1C7E-47E8-8151-EDD8070A50C4}">
      <dsp:nvSpPr>
        <dsp:cNvPr id="0" name=""/>
        <dsp:cNvSpPr/>
      </dsp:nvSpPr>
      <dsp:spPr>
        <a:xfrm rot="10800000">
          <a:off x="660346" y="1357729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/>
            <a:t>UAT</a:t>
          </a:r>
        </a:p>
      </dsp:txBody>
      <dsp:txXfrm rot="10800000">
        <a:off x="790912" y="1357729"/>
        <a:ext cx="1926835" cy="522266"/>
      </dsp:txXfrm>
    </dsp:sp>
    <dsp:sp modelId="{DE88FD75-0DAB-4C79-8466-98B97AC489A6}">
      <dsp:nvSpPr>
        <dsp:cNvPr id="0" name=""/>
        <dsp:cNvSpPr/>
      </dsp:nvSpPr>
      <dsp:spPr>
        <a:xfrm>
          <a:off x="387651" y="1357107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1C8FBC-3D1E-4154-904F-F6103C47B266}">
      <dsp:nvSpPr>
        <dsp:cNvPr id="0" name=""/>
        <dsp:cNvSpPr/>
      </dsp:nvSpPr>
      <dsp:spPr>
        <a:xfrm>
          <a:off x="722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/>
            <a:t>Production</a:t>
          </a:r>
        </a:p>
      </dsp:txBody>
      <dsp:txXfrm>
        <a:off x="722" y="823342"/>
        <a:ext cx="1123337" cy="823342"/>
      </dsp:txXfrm>
    </dsp:sp>
    <dsp:sp modelId="{90AF40D6-EA33-46C2-ADCE-A30B048CF692}">
      <dsp:nvSpPr>
        <dsp:cNvPr id="0" name=""/>
        <dsp:cNvSpPr/>
      </dsp:nvSpPr>
      <dsp:spPr>
        <a:xfrm>
          <a:off x="219674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97B4F2-CBD4-421D-A165-8EA0946768C0}">
      <dsp:nvSpPr>
        <dsp:cNvPr id="0" name=""/>
        <dsp:cNvSpPr/>
      </dsp:nvSpPr>
      <dsp:spPr>
        <a:xfrm>
          <a:off x="1150098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UAT</a:t>
          </a:r>
        </a:p>
      </dsp:txBody>
      <dsp:txXfrm>
        <a:off x="1150098" y="823342"/>
        <a:ext cx="1123337" cy="823342"/>
      </dsp:txXfrm>
    </dsp:sp>
    <dsp:sp modelId="{85D67A18-323E-416E-9F50-4627C9DB6674}">
      <dsp:nvSpPr>
        <dsp:cNvPr id="0" name=""/>
        <dsp:cNvSpPr/>
      </dsp:nvSpPr>
      <dsp:spPr>
        <a:xfrm>
          <a:off x="1376711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382A8B-90A4-45E8-A8C6-8D7626D9B720}">
      <dsp:nvSpPr>
        <dsp:cNvPr id="0" name=""/>
        <dsp:cNvSpPr/>
      </dsp:nvSpPr>
      <dsp:spPr>
        <a:xfrm>
          <a:off x="2295857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DEV</a:t>
          </a:r>
        </a:p>
      </dsp:txBody>
      <dsp:txXfrm>
        <a:off x="2295857" y="823342"/>
        <a:ext cx="1123337" cy="823342"/>
      </dsp:txXfrm>
    </dsp:sp>
    <dsp:sp modelId="{D8DC48CD-65B7-418B-88F7-F07EED2BEDAD}">
      <dsp:nvSpPr>
        <dsp:cNvPr id="0" name=""/>
        <dsp:cNvSpPr/>
      </dsp:nvSpPr>
      <dsp:spPr>
        <a:xfrm>
          <a:off x="2533749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E30EA1-64FA-4E91-B632-2884C1A1C395}">
      <dsp:nvSpPr>
        <dsp:cNvPr id="0" name=""/>
        <dsp:cNvSpPr/>
      </dsp:nvSpPr>
      <dsp:spPr>
        <a:xfrm>
          <a:off x="137554" y="1646684"/>
          <a:ext cx="3163747" cy="308753"/>
        </a:xfrm>
        <a:prstGeom prst="left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29594B-42EF-4268-B60A-45D2D1CDAC80}">
      <dsp:nvSpPr>
        <dsp:cNvPr id="0" name=""/>
        <dsp:cNvSpPr/>
      </dsp:nvSpPr>
      <dsp:spPr>
        <a:xfrm rot="5400000">
          <a:off x="1592536" y="1042315"/>
          <a:ext cx="921838" cy="104948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26128A-2D20-4D71-96DE-E7EA9BFDA310}">
      <dsp:nvSpPr>
        <dsp:cNvPr id="0" name=""/>
        <dsp:cNvSpPr/>
      </dsp:nvSpPr>
      <dsp:spPr>
        <a:xfrm>
          <a:off x="1348305" y="20439"/>
          <a:ext cx="1551833" cy="1086233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Build</a:t>
          </a:r>
        </a:p>
      </dsp:txBody>
      <dsp:txXfrm>
        <a:off x="1401340" y="73474"/>
        <a:ext cx="1445763" cy="980163"/>
      </dsp:txXfrm>
    </dsp:sp>
    <dsp:sp modelId="{65B38D20-1421-47A3-B1D1-0CA4F1F8FFE2}">
      <dsp:nvSpPr>
        <dsp:cNvPr id="0" name=""/>
        <dsp:cNvSpPr/>
      </dsp:nvSpPr>
      <dsp:spPr>
        <a:xfrm>
          <a:off x="2900138" y="124036"/>
          <a:ext cx="1128655" cy="877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14E7E8-ABCC-4C17-BCA2-2E9309165D81}">
      <dsp:nvSpPr>
        <dsp:cNvPr id="0" name=""/>
        <dsp:cNvSpPr/>
      </dsp:nvSpPr>
      <dsp:spPr>
        <a:xfrm rot="5400000">
          <a:off x="2879171" y="2262513"/>
          <a:ext cx="921838" cy="104948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12719064"/>
            <a:satOff val="34075"/>
            <a:lumOff val="123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AC9287-D568-4859-9078-5FCAAC3A4BBD}">
      <dsp:nvSpPr>
        <dsp:cNvPr id="0" name=""/>
        <dsp:cNvSpPr/>
      </dsp:nvSpPr>
      <dsp:spPr>
        <a:xfrm>
          <a:off x="2634940" y="1240637"/>
          <a:ext cx="1551833" cy="1086233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Release</a:t>
          </a:r>
        </a:p>
      </dsp:txBody>
      <dsp:txXfrm>
        <a:off x="2687975" y="1293672"/>
        <a:ext cx="1445763" cy="980163"/>
      </dsp:txXfrm>
    </dsp:sp>
    <dsp:sp modelId="{B707988B-4A57-41F5-A948-BF47A56F9F40}">
      <dsp:nvSpPr>
        <dsp:cNvPr id="0" name=""/>
        <dsp:cNvSpPr/>
      </dsp:nvSpPr>
      <dsp:spPr>
        <a:xfrm>
          <a:off x="4186773" y="1344234"/>
          <a:ext cx="1128655" cy="877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6CF815-A794-4363-85F3-0969F0DA2725}">
      <dsp:nvSpPr>
        <dsp:cNvPr id="0" name=""/>
        <dsp:cNvSpPr/>
      </dsp:nvSpPr>
      <dsp:spPr>
        <a:xfrm>
          <a:off x="3921575" y="2460835"/>
          <a:ext cx="1551833" cy="1086233"/>
        </a:xfrm>
        <a:prstGeom prst="roundRect">
          <a:avLst>
            <a:gd name="adj" fmla="val 16670"/>
          </a:avLst>
        </a:prstGeom>
        <a:solidFill>
          <a:schemeClr val="accent6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run</a:t>
          </a:r>
        </a:p>
      </dsp:txBody>
      <dsp:txXfrm>
        <a:off x="3974610" y="2513870"/>
        <a:ext cx="1445763" cy="9801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E20E65-855C-4324-B497-DBD518B1A5BA}">
      <dsp:nvSpPr>
        <dsp:cNvPr id="0" name=""/>
        <dsp:cNvSpPr/>
      </dsp:nvSpPr>
      <dsp:spPr>
        <a:xfrm rot="10800000">
          <a:off x="1202500" y="1711"/>
          <a:ext cx="3659195" cy="1123293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41" tIns="45720" rIns="85344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There should not be any separate service which handle all request and response rather the application itself will handle the protocol of communication </a:t>
          </a:r>
          <a:r>
            <a:rPr lang="en-US" sz="1200" kern="1200" dirty="0"/>
            <a:t>by binding to a port and listening to requests coming in on that port.</a:t>
          </a:r>
          <a:endParaRPr lang="en-IN" sz="1200" kern="1200" dirty="0"/>
        </a:p>
      </dsp:txBody>
      <dsp:txXfrm rot="10800000">
        <a:off x="1483323" y="1711"/>
        <a:ext cx="3378372" cy="1123293"/>
      </dsp:txXfrm>
    </dsp:sp>
    <dsp:sp modelId="{4956BB4F-C77E-4C4F-98B9-6510071C71CA}">
      <dsp:nvSpPr>
        <dsp:cNvPr id="0" name=""/>
        <dsp:cNvSpPr/>
      </dsp:nvSpPr>
      <dsp:spPr>
        <a:xfrm>
          <a:off x="625486" y="0"/>
          <a:ext cx="1123293" cy="1123293"/>
        </a:xfrm>
        <a:prstGeom prst="ellipse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4AEC27-EBC2-4327-92D2-7117A55A720C}">
      <dsp:nvSpPr>
        <dsp:cNvPr id="0" name=""/>
        <dsp:cNvSpPr/>
      </dsp:nvSpPr>
      <dsp:spPr>
        <a:xfrm rot="10800000">
          <a:off x="1202500" y="1460317"/>
          <a:ext cx="3659195" cy="1123293"/>
        </a:xfrm>
        <a:prstGeom prst="homePlat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41" tIns="45720" rIns="85344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he port should be nonstandard port allowing to run in container in isolated fashion.</a:t>
          </a:r>
          <a:endParaRPr lang="en-IN" sz="1200" kern="1200" dirty="0"/>
        </a:p>
      </dsp:txBody>
      <dsp:txXfrm rot="10800000">
        <a:off x="1483323" y="1460317"/>
        <a:ext cx="3378372" cy="1123293"/>
      </dsp:txXfrm>
    </dsp:sp>
    <dsp:sp modelId="{30D55B19-C7BE-4D05-BA39-90FBD2766692}">
      <dsp:nvSpPr>
        <dsp:cNvPr id="0" name=""/>
        <dsp:cNvSpPr/>
      </dsp:nvSpPr>
      <dsp:spPr>
        <a:xfrm>
          <a:off x="640853" y="1460317"/>
          <a:ext cx="1123293" cy="1123293"/>
        </a:xfrm>
        <a:prstGeom prst="ellipse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E17C14D4-FFCA-4BDA-A907-C9201057C55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51891AA6-D82D-4607-B757-E018F5A79182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0776EC72-F232-466F-929A-F917EF3ACB45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0209D99C-9E15-4648-B8BB-01077438C496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F92C08AE-A473-4D33-A890-F3DAD2D8201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AF2E5A4C-7EBA-478E-9D47-AAB665F0C2A7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42FAD89C-1F8A-41E9-B288-97F6F53080C4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CB49D72C-4962-474F-A047-4A849AF2191E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E17C14D4-FFCA-4BDA-A907-C9201057C55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51891AA6-D82D-4607-B757-E018F5A79182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0776EC72-F232-466F-929A-F917EF3ACB45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0209D99C-9E15-4648-B8BB-01077438C496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F92C08AE-A473-4D33-A890-F3DAD2D8201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AF2E5A4C-7EBA-478E-9D47-AAB665F0C2A7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42FAD89C-1F8A-41E9-B288-97F6F53080C4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CB49D72C-4962-474F-A047-4A849AF2191E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E14D1-C4D2-468A-AF1A-05BDECDD38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9C2D30-7CCA-4B4F-9B4B-78BF8B4F5D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302005-A464-4861-AC41-F48605047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180D8-7888-4813-82B7-21B38B127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9B4C6-E373-4E04-B134-964736770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96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DBE41-60A4-4A0A-BFC4-231D2C1F6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4B733A-F5AC-4F51-8928-CCCEE79A37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64C8CA-9136-4573-84C9-C5A92B92E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E904C-19D3-48D6-A084-E7527E999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1FBF1-EF4B-4F42-BCBE-E2029548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86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7D484-1C61-4291-86EB-DCB72FA4BD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B952A-2446-456F-A781-CE60359630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14FDE8-DF03-4CD2-AFA5-F9544654B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215AF-4547-408E-9B1B-84C01AFF1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E8FC8-CFC7-4386-B82F-E90177FF4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96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2FB7-E095-4E7F-A6C4-1BB0ED9A3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31C62B-FD82-4E4C-8D96-F9502262BD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C6C46-010C-48C1-86E8-81CEF3FCE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1CFE6-BBD3-45DD-BE46-88358F944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DE0DC-81D4-4D2E-B3A1-F310655E3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79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1DFAF-ECF8-4361-9DFD-D4FDAD599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4B328-4FF3-40AC-990E-42285849D7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BDBA9-CE3B-4766-A041-DE1EAF198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8474F-C997-4832-9200-0857DB2BB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47020F-1737-40CA-9D47-D7A260E6F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198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61B3C-4D0A-46A9-8CDE-85DB9D6C5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90536D-1105-4AE9-8E01-88E4A6911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CB6F5C-6B19-4A22-AA98-6DCC5E9FE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243147-3C59-41A8-8A8D-E4C3EA906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E4AEED-FA88-43F5-AB19-7E89D331F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81B7FC-3949-40B0-A519-EA5FD161D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932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B4CA9-A163-4B0A-AEA0-09F6E37CD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50B37-F8D9-49C3-A0A3-A5312193AB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21D0B9-2F9E-4837-B288-3F70C23C66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53E32A-60EA-4EA4-829C-FE53E329C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42DA12-21D2-4E32-880D-C8ABE36E57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2BEDD3-5544-4762-B81F-37037621B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56868-77AC-45E4-9CEF-91191A8BF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3C8E0-79F6-4E5E-AB5D-5BECB5DEC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55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DD17E-AFB4-4BB9-8D44-645D5B4D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A2D35-2736-4B00-BA60-5A199D738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CAE6C-13F1-4B09-A8CD-F2C55C418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80731C-D4F9-41CB-BBF1-DC66E22C9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560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A7E982-4257-4D42-968B-7D9ED6A8B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3DDFC-ACC8-40AA-9B57-F91007BB4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13F98E-318D-44DF-8864-3D368E83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087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7D22C-44C0-4C62-ADEC-A1D471927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8CBEF-C53B-4645-AC90-F3B5BA348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9199E-046D-48D8-9891-481E08B339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3D0212-0591-45CD-9AC9-A117ED13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5A6E7-D8CB-4443-A522-8CF19291F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4CD414-B027-42C7-9EF5-9838E2FD9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618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E2CCF-ECF9-4E89-8379-0AAC6E000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9F5CA-4468-4A64-8C47-0F5873DE94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AABB4-C7D8-40D9-8F57-677D383293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FFF6B-215C-4BD3-ABB5-F65B73EAA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E86E5B-4ADE-41AC-831D-732D52B91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6376ED-CE6C-4832-A911-69CCE9026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563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70D4AC-35ED-4638-ADF6-A7D44F2BD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1729C-FE2A-413E-A8CB-61735AFE4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9AEAC-842F-4039-ABA7-55540A63C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81778D-BD8F-4549-8079-C0316B66299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9D9916-8A66-4895-A379-C22B256CE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054720-508F-4CA9-AB38-FC60D3BBC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94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image" Target="../media/image11.png"/><Relationship Id="rId26" Type="http://schemas.openxmlformats.org/officeDocument/2006/relationships/image" Target="../media/image18.svg"/><Relationship Id="rId3" Type="http://schemas.openxmlformats.org/officeDocument/2006/relationships/tags" Target="../tags/tag101.xml"/><Relationship Id="rId21" Type="http://schemas.openxmlformats.org/officeDocument/2006/relationships/image" Target="../media/image16.svg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image" Target="../media/image15.svg"/><Relationship Id="rId25" Type="http://schemas.openxmlformats.org/officeDocument/2006/relationships/image" Target="../media/image3.png"/><Relationship Id="rId2" Type="http://schemas.openxmlformats.org/officeDocument/2006/relationships/tags" Target="../tags/tag100.xml"/><Relationship Id="rId16" Type="http://schemas.openxmlformats.org/officeDocument/2006/relationships/image" Target="../media/image7.png"/><Relationship Id="rId20" Type="http://schemas.openxmlformats.org/officeDocument/2006/relationships/image" Target="../media/image5.png"/><Relationship Id="rId29" Type="http://schemas.openxmlformats.org/officeDocument/2006/relationships/image" Target="../media/image45.png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image" Target="../media/image17.svg"/><Relationship Id="rId5" Type="http://schemas.openxmlformats.org/officeDocument/2006/relationships/tags" Target="../tags/tag103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13.png"/><Relationship Id="rId28" Type="http://schemas.openxmlformats.org/officeDocument/2006/relationships/image" Target="../media/image19.png"/><Relationship Id="rId10" Type="http://schemas.openxmlformats.org/officeDocument/2006/relationships/tags" Target="../tags/tag108.xml"/><Relationship Id="rId19" Type="http://schemas.openxmlformats.org/officeDocument/2006/relationships/image" Target="../media/image12.png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image" Target="../media/image9.png"/><Relationship Id="rId27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15.xml"/><Relationship Id="rId21" Type="http://schemas.openxmlformats.org/officeDocument/2006/relationships/image" Target="../media/image9.png"/><Relationship Id="rId34" Type="http://schemas.openxmlformats.org/officeDocument/2006/relationships/image" Target="../media/image51.png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microsoft.com/office/2007/relationships/hdphoto" Target="../media/hdphoto1.wdp"/><Relationship Id="rId2" Type="http://schemas.openxmlformats.org/officeDocument/2006/relationships/tags" Target="../tags/tag11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47.png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image" Target="../media/image3.png"/><Relationship Id="rId32" Type="http://schemas.openxmlformats.org/officeDocument/2006/relationships/image" Target="../media/image50.png"/><Relationship Id="rId5" Type="http://schemas.openxmlformats.org/officeDocument/2006/relationships/tags" Target="../tags/tag11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6.png"/><Relationship Id="rId10" Type="http://schemas.openxmlformats.org/officeDocument/2006/relationships/tags" Target="../tags/tag122.xml"/><Relationship Id="rId19" Type="http://schemas.openxmlformats.org/officeDocument/2006/relationships/image" Target="../media/image5.png"/><Relationship Id="rId31" Type="http://schemas.openxmlformats.org/officeDocument/2006/relationships/image" Target="../media/image49.png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diagramQuickStyle" Target="../diagrams/quickStyle4.xml"/><Relationship Id="rId26" Type="http://schemas.openxmlformats.org/officeDocument/2006/relationships/image" Target="../media/image16.svg"/><Relationship Id="rId3" Type="http://schemas.openxmlformats.org/officeDocument/2006/relationships/tags" Target="../tags/tag128.xml"/><Relationship Id="rId21" Type="http://schemas.openxmlformats.org/officeDocument/2006/relationships/image" Target="../media/image7.png"/><Relationship Id="rId34" Type="http://schemas.openxmlformats.org/officeDocument/2006/relationships/image" Target="../media/image52.png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diagramLayout" Target="../diagrams/layout4.xml"/><Relationship Id="rId25" Type="http://schemas.openxmlformats.org/officeDocument/2006/relationships/image" Target="../media/image5.png"/><Relationship Id="rId33" Type="http://schemas.openxmlformats.org/officeDocument/2006/relationships/image" Target="../media/image19.png"/><Relationship Id="rId2" Type="http://schemas.openxmlformats.org/officeDocument/2006/relationships/tags" Target="../tags/tag127.xml"/><Relationship Id="rId16" Type="http://schemas.openxmlformats.org/officeDocument/2006/relationships/diagramData" Target="../diagrams/data4.xml"/><Relationship Id="rId20" Type="http://schemas.microsoft.com/office/2007/relationships/diagramDrawing" Target="../diagrams/drawing4.xml"/><Relationship Id="rId29" Type="http://schemas.openxmlformats.org/officeDocument/2006/relationships/image" Target="../media/image17.svg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image" Target="../media/image12.png"/><Relationship Id="rId32" Type="http://schemas.openxmlformats.org/officeDocument/2006/relationships/image" Target="../media/image10.png"/><Relationship Id="rId5" Type="http://schemas.openxmlformats.org/officeDocument/2006/relationships/tags" Target="../tags/tag130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11.png"/><Relationship Id="rId28" Type="http://schemas.openxmlformats.org/officeDocument/2006/relationships/image" Target="../media/image13.png"/><Relationship Id="rId36" Type="http://schemas.openxmlformats.org/officeDocument/2006/relationships/image" Target="../media/image54.png"/><Relationship Id="rId10" Type="http://schemas.openxmlformats.org/officeDocument/2006/relationships/tags" Target="../tags/tag135.xml"/><Relationship Id="rId19" Type="http://schemas.openxmlformats.org/officeDocument/2006/relationships/diagramColors" Target="../diagrams/colors4.xml"/><Relationship Id="rId31" Type="http://schemas.openxmlformats.org/officeDocument/2006/relationships/image" Target="../media/image18.svg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image" Target="../media/image15.svg"/><Relationship Id="rId27" Type="http://schemas.openxmlformats.org/officeDocument/2006/relationships/image" Target="../media/image9.png"/><Relationship Id="rId30" Type="http://schemas.openxmlformats.org/officeDocument/2006/relationships/image" Target="../media/image3.png"/><Relationship Id="rId35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42.xml"/><Relationship Id="rId21" Type="http://schemas.openxmlformats.org/officeDocument/2006/relationships/image" Target="../media/image9.png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4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56.png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image" Target="../media/image3.png"/><Relationship Id="rId32" Type="http://schemas.openxmlformats.org/officeDocument/2006/relationships/image" Target="../media/image43.png"/><Relationship Id="rId5" Type="http://schemas.openxmlformats.org/officeDocument/2006/relationships/tags" Target="../tags/tag14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5.png"/><Relationship Id="rId10" Type="http://schemas.openxmlformats.org/officeDocument/2006/relationships/tags" Target="../tags/tag149.xml"/><Relationship Id="rId19" Type="http://schemas.openxmlformats.org/officeDocument/2006/relationships/image" Target="../media/image5.png"/><Relationship Id="rId31" Type="http://schemas.openxmlformats.org/officeDocument/2006/relationships/image" Target="../media/image58.png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55.xml"/><Relationship Id="rId21" Type="http://schemas.openxmlformats.org/officeDocument/2006/relationships/image" Target="../media/image9.png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5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openxmlformats.org/officeDocument/2006/relationships/image" Target="../media/image3.png"/><Relationship Id="rId5" Type="http://schemas.openxmlformats.org/officeDocument/2006/relationships/tags" Target="../tags/tag15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3.png"/><Relationship Id="rId10" Type="http://schemas.openxmlformats.org/officeDocument/2006/relationships/tags" Target="../tags/tag162.xml"/><Relationship Id="rId19" Type="http://schemas.openxmlformats.org/officeDocument/2006/relationships/image" Target="../media/image5.pn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tags" Target="../tags/tag17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68.xml"/><Relationship Id="rId21" Type="http://schemas.openxmlformats.org/officeDocument/2006/relationships/image" Target="../media/image9.png"/><Relationship Id="rId34" Type="http://schemas.microsoft.com/office/2007/relationships/diagramDrawing" Target="../diagrams/drawing5.xml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Colors" Target="../diagrams/colors5.xml"/><Relationship Id="rId2" Type="http://schemas.openxmlformats.org/officeDocument/2006/relationships/tags" Target="../tags/tag16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60.png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24" Type="http://schemas.openxmlformats.org/officeDocument/2006/relationships/image" Target="../media/image3.png"/><Relationship Id="rId32" Type="http://schemas.openxmlformats.org/officeDocument/2006/relationships/diagramQuickStyle" Target="../diagrams/quickStyle5.xml"/><Relationship Id="rId5" Type="http://schemas.openxmlformats.org/officeDocument/2006/relationships/tags" Target="../tags/tag17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9.png"/><Relationship Id="rId36" Type="http://schemas.openxmlformats.org/officeDocument/2006/relationships/image" Target="../media/image62.png"/><Relationship Id="rId10" Type="http://schemas.openxmlformats.org/officeDocument/2006/relationships/tags" Target="../tags/tag175.xml"/><Relationship Id="rId19" Type="http://schemas.openxmlformats.org/officeDocument/2006/relationships/image" Target="../media/image5.png"/><Relationship Id="rId31" Type="http://schemas.openxmlformats.org/officeDocument/2006/relationships/diagramLayout" Target="../diagrams/layout5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diagramData" Target="../diagrams/data5.xml"/><Relationship Id="rId35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81.xml"/><Relationship Id="rId21" Type="http://schemas.openxmlformats.org/officeDocument/2006/relationships/image" Target="../media/image9.png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80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image" Target="../media/image3.png"/><Relationship Id="rId5" Type="http://schemas.openxmlformats.org/officeDocument/2006/relationships/tags" Target="../tags/tag183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9.png"/><Relationship Id="rId10" Type="http://schemas.openxmlformats.org/officeDocument/2006/relationships/tags" Target="../tags/tag188.xml"/><Relationship Id="rId19" Type="http://schemas.openxmlformats.org/officeDocument/2006/relationships/image" Target="../media/image5.png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18" Type="http://schemas.openxmlformats.org/officeDocument/2006/relationships/diagramColors" Target="../diagrams/colors6.xml"/><Relationship Id="rId26" Type="http://schemas.openxmlformats.org/officeDocument/2006/relationships/image" Target="../media/image9.png"/><Relationship Id="rId39" Type="http://schemas.openxmlformats.org/officeDocument/2006/relationships/image" Target="../media/image64.png"/><Relationship Id="rId3" Type="http://schemas.openxmlformats.org/officeDocument/2006/relationships/tags" Target="../tags/tag194.xml"/><Relationship Id="rId21" Type="http://schemas.openxmlformats.org/officeDocument/2006/relationships/image" Target="../media/image15.svg"/><Relationship Id="rId34" Type="http://schemas.openxmlformats.org/officeDocument/2006/relationships/diagramQuickStyle" Target="../diagrams/quickStyle7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diagramQuickStyle" Target="../diagrams/quickStyle6.xml"/><Relationship Id="rId25" Type="http://schemas.openxmlformats.org/officeDocument/2006/relationships/image" Target="../media/image16.svg"/><Relationship Id="rId33" Type="http://schemas.openxmlformats.org/officeDocument/2006/relationships/diagramLayout" Target="../diagrams/layout7.xml"/><Relationship Id="rId38" Type="http://schemas.openxmlformats.org/officeDocument/2006/relationships/image" Target="../media/image63.png"/><Relationship Id="rId2" Type="http://schemas.openxmlformats.org/officeDocument/2006/relationships/tags" Target="../tags/tag193.xml"/><Relationship Id="rId16" Type="http://schemas.openxmlformats.org/officeDocument/2006/relationships/diagramLayout" Target="../diagrams/layout6.xml"/><Relationship Id="rId20" Type="http://schemas.openxmlformats.org/officeDocument/2006/relationships/image" Target="../media/image7.png"/><Relationship Id="rId29" Type="http://schemas.openxmlformats.org/officeDocument/2006/relationships/image" Target="../media/image3.png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24" Type="http://schemas.openxmlformats.org/officeDocument/2006/relationships/image" Target="../media/image5.png"/><Relationship Id="rId32" Type="http://schemas.openxmlformats.org/officeDocument/2006/relationships/diagramData" Target="../diagrams/data7.xml"/><Relationship Id="rId37" Type="http://schemas.openxmlformats.org/officeDocument/2006/relationships/image" Target="../media/image60.png"/><Relationship Id="rId40" Type="http://schemas.openxmlformats.org/officeDocument/2006/relationships/image" Target="../media/image65.svg"/><Relationship Id="rId5" Type="http://schemas.openxmlformats.org/officeDocument/2006/relationships/tags" Target="../tags/tag196.xml"/><Relationship Id="rId15" Type="http://schemas.openxmlformats.org/officeDocument/2006/relationships/diagramData" Target="../diagrams/data6.xml"/><Relationship Id="rId23" Type="http://schemas.openxmlformats.org/officeDocument/2006/relationships/image" Target="../media/image12.png"/><Relationship Id="rId28" Type="http://schemas.openxmlformats.org/officeDocument/2006/relationships/image" Target="../media/image17.svg"/><Relationship Id="rId36" Type="http://schemas.microsoft.com/office/2007/relationships/diagramDrawing" Target="../diagrams/drawing7.xml"/><Relationship Id="rId10" Type="http://schemas.openxmlformats.org/officeDocument/2006/relationships/tags" Target="../tags/tag201.xml"/><Relationship Id="rId19" Type="http://schemas.microsoft.com/office/2007/relationships/diagramDrawing" Target="../diagrams/drawing6.xml"/><Relationship Id="rId31" Type="http://schemas.openxmlformats.org/officeDocument/2006/relationships/image" Target="../media/image10.png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1.png"/><Relationship Id="rId27" Type="http://schemas.openxmlformats.org/officeDocument/2006/relationships/image" Target="../media/image13.png"/><Relationship Id="rId30" Type="http://schemas.openxmlformats.org/officeDocument/2006/relationships/image" Target="../media/image18.svg"/><Relationship Id="rId35" Type="http://schemas.openxmlformats.org/officeDocument/2006/relationships/diagramColors" Target="../diagrams/colors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18" Type="http://schemas.openxmlformats.org/officeDocument/2006/relationships/diagramColors" Target="../diagrams/colors8.xml"/><Relationship Id="rId26" Type="http://schemas.openxmlformats.org/officeDocument/2006/relationships/image" Target="../media/image9.png"/><Relationship Id="rId3" Type="http://schemas.openxmlformats.org/officeDocument/2006/relationships/tags" Target="../tags/tag207.xml"/><Relationship Id="rId21" Type="http://schemas.openxmlformats.org/officeDocument/2006/relationships/image" Target="../media/image15.svg"/><Relationship Id="rId34" Type="http://schemas.openxmlformats.org/officeDocument/2006/relationships/diagramQuickStyle" Target="../diagrams/quickStyle9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diagramQuickStyle" Target="../diagrams/quickStyle8.xml"/><Relationship Id="rId25" Type="http://schemas.openxmlformats.org/officeDocument/2006/relationships/image" Target="../media/image16.svg"/><Relationship Id="rId33" Type="http://schemas.openxmlformats.org/officeDocument/2006/relationships/diagramLayout" Target="../diagrams/layout9.xml"/><Relationship Id="rId2" Type="http://schemas.openxmlformats.org/officeDocument/2006/relationships/tags" Target="../tags/tag206.xml"/><Relationship Id="rId16" Type="http://schemas.openxmlformats.org/officeDocument/2006/relationships/diagramLayout" Target="../diagrams/layout8.xml"/><Relationship Id="rId20" Type="http://schemas.openxmlformats.org/officeDocument/2006/relationships/image" Target="../media/image7.png"/><Relationship Id="rId29" Type="http://schemas.openxmlformats.org/officeDocument/2006/relationships/image" Target="../media/image3.png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image" Target="../media/image5.png"/><Relationship Id="rId32" Type="http://schemas.openxmlformats.org/officeDocument/2006/relationships/diagramData" Target="../diagrams/data9.xml"/><Relationship Id="rId5" Type="http://schemas.openxmlformats.org/officeDocument/2006/relationships/tags" Target="../tags/tag209.xml"/><Relationship Id="rId15" Type="http://schemas.openxmlformats.org/officeDocument/2006/relationships/diagramData" Target="../diagrams/data8.xml"/><Relationship Id="rId23" Type="http://schemas.openxmlformats.org/officeDocument/2006/relationships/image" Target="../media/image12.png"/><Relationship Id="rId28" Type="http://schemas.openxmlformats.org/officeDocument/2006/relationships/image" Target="../media/image17.svg"/><Relationship Id="rId36" Type="http://schemas.microsoft.com/office/2007/relationships/diagramDrawing" Target="../diagrams/drawing9.xml"/><Relationship Id="rId10" Type="http://schemas.openxmlformats.org/officeDocument/2006/relationships/tags" Target="../tags/tag214.xml"/><Relationship Id="rId19" Type="http://schemas.microsoft.com/office/2007/relationships/diagramDrawing" Target="../diagrams/drawing8.xml"/><Relationship Id="rId31" Type="http://schemas.openxmlformats.org/officeDocument/2006/relationships/image" Target="../media/image10.png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1.png"/><Relationship Id="rId27" Type="http://schemas.openxmlformats.org/officeDocument/2006/relationships/image" Target="../media/image13.png"/><Relationship Id="rId30" Type="http://schemas.openxmlformats.org/officeDocument/2006/relationships/image" Target="../media/image18.svg"/><Relationship Id="rId35" Type="http://schemas.openxmlformats.org/officeDocument/2006/relationships/diagramColors" Target="../diagrams/colors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20.xml"/><Relationship Id="rId21" Type="http://schemas.openxmlformats.org/officeDocument/2006/relationships/image" Target="../media/image9.png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19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24" Type="http://schemas.openxmlformats.org/officeDocument/2006/relationships/image" Target="../media/image3.png"/><Relationship Id="rId5" Type="http://schemas.openxmlformats.org/officeDocument/2006/relationships/tags" Target="../tags/tag222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27.xml"/><Relationship Id="rId19" Type="http://schemas.openxmlformats.org/officeDocument/2006/relationships/image" Target="../media/image5.png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tags" Target="../tags/tag243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33.xml"/><Relationship Id="rId21" Type="http://schemas.openxmlformats.org/officeDocument/2006/relationships/image" Target="../media/image9.png"/><Relationship Id="rId34" Type="http://schemas.openxmlformats.org/officeDocument/2006/relationships/image" Target="../media/image73.png"/><Relationship Id="rId7" Type="http://schemas.openxmlformats.org/officeDocument/2006/relationships/tags" Target="../tags/tag237.xml"/><Relationship Id="rId12" Type="http://schemas.openxmlformats.org/officeDocument/2006/relationships/tags" Target="../tags/tag242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72.png"/><Relationship Id="rId2" Type="http://schemas.openxmlformats.org/officeDocument/2006/relationships/tags" Target="../tags/tag232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68.png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24" Type="http://schemas.openxmlformats.org/officeDocument/2006/relationships/image" Target="../media/image3.png"/><Relationship Id="rId32" Type="http://schemas.openxmlformats.org/officeDocument/2006/relationships/image" Target="../media/image71.png"/><Relationship Id="rId5" Type="http://schemas.openxmlformats.org/officeDocument/2006/relationships/tags" Target="../tags/tag235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67.png"/><Relationship Id="rId10" Type="http://schemas.openxmlformats.org/officeDocument/2006/relationships/tags" Target="../tags/tag240.xml"/><Relationship Id="rId19" Type="http://schemas.openxmlformats.org/officeDocument/2006/relationships/image" Target="../media/image5.png"/><Relationship Id="rId31" Type="http://schemas.openxmlformats.org/officeDocument/2006/relationships/image" Target="../media/image70.png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66.png"/><Relationship Id="rId30" Type="http://schemas.openxmlformats.org/officeDocument/2006/relationships/image" Target="../media/image6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46.xml"/><Relationship Id="rId21" Type="http://schemas.openxmlformats.org/officeDocument/2006/relationships/image" Target="../media/image9.png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45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74.png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image" Target="../media/image3.png"/><Relationship Id="rId5" Type="http://schemas.openxmlformats.org/officeDocument/2006/relationships/tags" Target="../tags/tag248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67.png"/><Relationship Id="rId10" Type="http://schemas.openxmlformats.org/officeDocument/2006/relationships/tags" Target="../tags/tag253.xml"/><Relationship Id="rId19" Type="http://schemas.openxmlformats.org/officeDocument/2006/relationships/image" Target="../media/image5.png"/><Relationship Id="rId31" Type="http://schemas.openxmlformats.org/officeDocument/2006/relationships/image" Target="../media/image69.png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66.png"/><Relationship Id="rId30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59.xml"/><Relationship Id="rId21" Type="http://schemas.openxmlformats.org/officeDocument/2006/relationships/image" Target="../media/image9.png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58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image" Target="../media/image3.png"/><Relationship Id="rId5" Type="http://schemas.openxmlformats.org/officeDocument/2006/relationships/tags" Target="../tags/tag261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66.xml"/><Relationship Id="rId19" Type="http://schemas.openxmlformats.org/officeDocument/2006/relationships/image" Target="../media/image5.png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tags" Target="../tags/tag28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72.xml"/><Relationship Id="rId21" Type="http://schemas.openxmlformats.org/officeDocument/2006/relationships/image" Target="../media/image9.png"/><Relationship Id="rId34" Type="http://schemas.openxmlformats.org/officeDocument/2006/relationships/image" Target="../media/image80.png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79.png"/><Relationship Id="rId2" Type="http://schemas.openxmlformats.org/officeDocument/2006/relationships/tags" Target="../tags/tag27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76.png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24" Type="http://schemas.openxmlformats.org/officeDocument/2006/relationships/image" Target="../media/image3.png"/><Relationship Id="rId32" Type="http://schemas.openxmlformats.org/officeDocument/2006/relationships/image" Target="../media/image78.png"/><Relationship Id="rId5" Type="http://schemas.openxmlformats.org/officeDocument/2006/relationships/tags" Target="../tags/tag27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75.png"/><Relationship Id="rId10" Type="http://schemas.openxmlformats.org/officeDocument/2006/relationships/tags" Target="../tags/tag279.xml"/><Relationship Id="rId19" Type="http://schemas.openxmlformats.org/officeDocument/2006/relationships/image" Target="../media/image5.png"/><Relationship Id="rId31" Type="http://schemas.microsoft.com/office/2007/relationships/hdphoto" Target="../media/hdphoto2.wdp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77.png"/><Relationship Id="rId35" Type="http://schemas.openxmlformats.org/officeDocument/2006/relationships/image" Target="../media/image8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tags" Target="../tags/tag29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85.xml"/><Relationship Id="rId21" Type="http://schemas.openxmlformats.org/officeDocument/2006/relationships/image" Target="../media/image9.png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8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image" Target="../media/image3.png"/><Relationship Id="rId5" Type="http://schemas.openxmlformats.org/officeDocument/2006/relationships/tags" Target="../tags/tag28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92.xml"/><Relationship Id="rId19" Type="http://schemas.openxmlformats.org/officeDocument/2006/relationships/image" Target="../media/image5.png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98.xml"/><Relationship Id="rId21" Type="http://schemas.openxmlformats.org/officeDocument/2006/relationships/image" Target="../media/image9.png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9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tags" Target="../tags/tag306.xml"/><Relationship Id="rId24" Type="http://schemas.openxmlformats.org/officeDocument/2006/relationships/image" Target="../media/image3.png"/><Relationship Id="rId5" Type="http://schemas.openxmlformats.org/officeDocument/2006/relationships/tags" Target="../tags/tag30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19.png"/><Relationship Id="rId10" Type="http://schemas.openxmlformats.org/officeDocument/2006/relationships/tags" Target="../tags/tag305.xml"/><Relationship Id="rId19" Type="http://schemas.openxmlformats.org/officeDocument/2006/relationships/image" Target="../media/image5.png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5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tags" Target="../tags/tag321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311.xml"/><Relationship Id="rId21" Type="http://schemas.openxmlformats.org/officeDocument/2006/relationships/image" Target="../media/image9.png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83.png"/><Relationship Id="rId2" Type="http://schemas.openxmlformats.org/officeDocument/2006/relationships/tags" Target="../tags/tag310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diagramQuickStyle" Target="../diagrams/quickStyle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image" Target="../media/image3.png"/><Relationship Id="rId32" Type="http://schemas.openxmlformats.org/officeDocument/2006/relationships/image" Target="../media/image82.png"/><Relationship Id="rId5" Type="http://schemas.openxmlformats.org/officeDocument/2006/relationships/tags" Target="../tags/tag313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diagramLayout" Target="../diagrams/layout10.xml"/><Relationship Id="rId10" Type="http://schemas.openxmlformats.org/officeDocument/2006/relationships/tags" Target="../tags/tag318.xml"/><Relationship Id="rId19" Type="http://schemas.openxmlformats.org/officeDocument/2006/relationships/image" Target="../media/image5.png"/><Relationship Id="rId31" Type="http://schemas.microsoft.com/office/2007/relationships/diagramDrawing" Target="../diagrams/drawing10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diagramData" Target="../diagrams/data10.xml"/><Relationship Id="rId30" Type="http://schemas.openxmlformats.org/officeDocument/2006/relationships/diagramColors" Target="../diagrams/colors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tags" Target="../tags/tag334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324.xml"/><Relationship Id="rId21" Type="http://schemas.openxmlformats.org/officeDocument/2006/relationships/image" Target="../media/image9.png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323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24" Type="http://schemas.openxmlformats.org/officeDocument/2006/relationships/image" Target="../media/image3.png"/><Relationship Id="rId5" Type="http://schemas.openxmlformats.org/officeDocument/2006/relationships/tags" Target="../tags/tag326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331.xml"/><Relationship Id="rId19" Type="http://schemas.openxmlformats.org/officeDocument/2006/relationships/image" Target="../media/image5.png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7.png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6.svg"/><Relationship Id="rId33" Type="http://schemas.openxmlformats.org/officeDocument/2006/relationships/image" Target="../media/image14.sv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0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.png"/><Relationship Id="rId32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svg"/><Relationship Id="rId28" Type="http://schemas.openxmlformats.org/officeDocument/2006/relationships/image" Target="../media/image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png"/><Relationship Id="rId27" Type="http://schemas.openxmlformats.org/officeDocument/2006/relationships/image" Target="../media/image8.svg"/><Relationship Id="rId30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9" Type="http://schemas.openxmlformats.org/officeDocument/2006/relationships/image" Target="../media/image26.png"/><Relationship Id="rId3" Type="http://schemas.openxmlformats.org/officeDocument/2006/relationships/tags" Target="../tags/tag23.xml"/><Relationship Id="rId21" Type="http://schemas.openxmlformats.org/officeDocument/2006/relationships/image" Target="../media/image9.png"/><Relationship Id="rId34" Type="http://schemas.openxmlformats.org/officeDocument/2006/relationships/diagramColors" Target="../diagrams/colors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QuickStyle" Target="../diagrams/quickStyle1.xml"/><Relationship Id="rId38" Type="http://schemas.openxmlformats.org/officeDocument/2006/relationships/image" Target="../media/image25.png"/><Relationship Id="rId2" Type="http://schemas.openxmlformats.org/officeDocument/2006/relationships/tags" Target="../tags/tag22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21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image" Target="../media/image3.png"/><Relationship Id="rId32" Type="http://schemas.openxmlformats.org/officeDocument/2006/relationships/diagramLayout" Target="../diagrams/layout1.xml"/><Relationship Id="rId37" Type="http://schemas.openxmlformats.org/officeDocument/2006/relationships/image" Target="../media/image24.png"/><Relationship Id="rId5" Type="http://schemas.openxmlformats.org/officeDocument/2006/relationships/tags" Target="../tags/tag25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20.png"/><Relationship Id="rId36" Type="http://schemas.openxmlformats.org/officeDocument/2006/relationships/image" Target="../media/image23.png"/><Relationship Id="rId10" Type="http://schemas.openxmlformats.org/officeDocument/2006/relationships/tags" Target="../tags/tag30.xml"/><Relationship Id="rId19" Type="http://schemas.openxmlformats.org/officeDocument/2006/relationships/image" Target="../media/image5.png"/><Relationship Id="rId31" Type="http://schemas.openxmlformats.org/officeDocument/2006/relationships/diagramData" Target="../diagrams/data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22.png"/><Relationship Id="rId35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9" Type="http://schemas.openxmlformats.org/officeDocument/2006/relationships/image" Target="../media/image22.png"/><Relationship Id="rId3" Type="http://schemas.openxmlformats.org/officeDocument/2006/relationships/tags" Target="../tags/tag36.xml"/><Relationship Id="rId21" Type="http://schemas.openxmlformats.org/officeDocument/2006/relationships/image" Target="../media/image9.png"/><Relationship Id="rId34" Type="http://schemas.openxmlformats.org/officeDocument/2006/relationships/diagramQuickStyle" Target="../diagrams/quickStyle2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Layout" Target="../diagrams/layout2.xml"/><Relationship Id="rId38" Type="http://schemas.openxmlformats.org/officeDocument/2006/relationships/image" Target="../media/image21.png"/><Relationship Id="rId2" Type="http://schemas.openxmlformats.org/officeDocument/2006/relationships/tags" Target="../tags/tag35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28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image" Target="../media/image3.png"/><Relationship Id="rId32" Type="http://schemas.openxmlformats.org/officeDocument/2006/relationships/diagramData" Target="../diagrams/data2.xml"/><Relationship Id="rId37" Type="http://schemas.openxmlformats.org/officeDocument/2006/relationships/image" Target="../media/image20.png"/><Relationship Id="rId5" Type="http://schemas.openxmlformats.org/officeDocument/2006/relationships/tags" Target="../tags/tag38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27.png"/><Relationship Id="rId36" Type="http://schemas.microsoft.com/office/2007/relationships/diagramDrawing" Target="../diagrams/drawing2.xml"/><Relationship Id="rId10" Type="http://schemas.openxmlformats.org/officeDocument/2006/relationships/tags" Target="../tags/tag43.xml"/><Relationship Id="rId19" Type="http://schemas.openxmlformats.org/officeDocument/2006/relationships/image" Target="../media/image5.png"/><Relationship Id="rId31" Type="http://schemas.openxmlformats.org/officeDocument/2006/relationships/image" Target="../media/image30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29.png"/><Relationship Id="rId35" Type="http://schemas.openxmlformats.org/officeDocument/2006/relationships/diagramColors" Target="../diagrams/colors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49.xml"/><Relationship Id="rId21" Type="http://schemas.openxmlformats.org/officeDocument/2006/relationships/image" Target="../media/image9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36.png"/><Relationship Id="rId2" Type="http://schemas.openxmlformats.org/officeDocument/2006/relationships/tags" Target="../tags/tag48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32.png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3.png"/><Relationship Id="rId32" Type="http://schemas.openxmlformats.org/officeDocument/2006/relationships/image" Target="../media/image35.png"/><Relationship Id="rId5" Type="http://schemas.openxmlformats.org/officeDocument/2006/relationships/tags" Target="../tags/tag51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31.png"/><Relationship Id="rId10" Type="http://schemas.openxmlformats.org/officeDocument/2006/relationships/tags" Target="../tags/tag56.xml"/><Relationship Id="rId19" Type="http://schemas.openxmlformats.org/officeDocument/2006/relationships/image" Target="../media/image5.png"/><Relationship Id="rId31" Type="http://schemas.openxmlformats.org/officeDocument/2006/relationships/image" Target="../media/image34.png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62.xml"/><Relationship Id="rId21" Type="http://schemas.openxmlformats.org/officeDocument/2006/relationships/image" Target="../media/image9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6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31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3.png"/><Relationship Id="rId5" Type="http://schemas.openxmlformats.org/officeDocument/2006/relationships/tags" Target="../tags/tag6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33.png"/><Relationship Id="rId10" Type="http://schemas.openxmlformats.org/officeDocument/2006/relationships/tags" Target="../tags/tag69.xml"/><Relationship Id="rId19" Type="http://schemas.openxmlformats.org/officeDocument/2006/relationships/image" Target="../media/image5.pn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75.xml"/><Relationship Id="rId21" Type="http://schemas.openxmlformats.org/officeDocument/2006/relationships/image" Target="../media/image9.png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7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diagramLayout" Target="../diagrams/layout3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image" Target="../media/image3.png"/><Relationship Id="rId32" Type="http://schemas.microsoft.com/office/2007/relationships/diagramDrawing" Target="../diagrams/drawing3.xml"/><Relationship Id="rId5" Type="http://schemas.openxmlformats.org/officeDocument/2006/relationships/tags" Target="../tags/tag7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diagramData" Target="../diagrams/data3.xml"/><Relationship Id="rId10" Type="http://schemas.openxmlformats.org/officeDocument/2006/relationships/tags" Target="../tags/tag82.xml"/><Relationship Id="rId19" Type="http://schemas.openxmlformats.org/officeDocument/2006/relationships/image" Target="../media/image5.png"/><Relationship Id="rId31" Type="http://schemas.openxmlformats.org/officeDocument/2006/relationships/diagramColors" Target="../diagrams/colors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88.xml"/><Relationship Id="rId21" Type="http://schemas.openxmlformats.org/officeDocument/2006/relationships/image" Target="../media/image9.png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8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image" Target="../media/image3.png"/><Relationship Id="rId5" Type="http://schemas.openxmlformats.org/officeDocument/2006/relationships/tags" Target="../tags/tag9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4.png"/><Relationship Id="rId10" Type="http://schemas.openxmlformats.org/officeDocument/2006/relationships/tags" Target="../tags/tag95.xml"/><Relationship Id="rId19" Type="http://schemas.openxmlformats.org/officeDocument/2006/relationships/image" Target="../media/image5.png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352243-5507-407D-A680-1905626886B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9" r="13818" b="1382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17633-EEB7-452F-92E1-4DFF5AAB6C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1" y="1122363"/>
            <a:ext cx="4023360" cy="3190557"/>
          </a:xfrm>
        </p:spPr>
        <p:txBody>
          <a:bodyPr anchor="b">
            <a:normAutofit/>
          </a:bodyPr>
          <a:lstStyle/>
          <a:p>
            <a:pPr algn="l"/>
            <a:endParaRPr lang="en-IN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C84829-4CE9-4F4F-859F-271BB28D36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/>
          </a:bodyPr>
          <a:lstStyle/>
          <a:p>
            <a:pPr algn="l"/>
            <a:r>
              <a:rPr lang="en-IN" sz="3600" dirty="0">
                <a:latin typeface="Angsana New" panose="020B0502040204020203" pitchFamily="18" charset="-34"/>
                <a:cs typeface="Angsana New" panose="020B0502040204020203" pitchFamily="18" charset="-34"/>
              </a:rPr>
              <a:t>Microservices at Marlinspik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VISUAL LEARN (1)">
            <a:hlinkClick r:id="" action="ppaction://media"/>
            <a:extLst>
              <a:ext uri="{FF2B5EF4-FFF2-40B4-BE49-F238E27FC236}">
                <a16:creationId xmlns:a16="http://schemas.microsoft.com/office/drawing/2014/main" id="{5D1114E7-4EA8-4F68-9100-9486D934306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911"/>
          <a:stretch/>
        </p:blipFill>
        <p:spPr>
          <a:xfrm>
            <a:off x="533400" y="1185472"/>
            <a:ext cx="3276795" cy="314864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1C2B9E-DA7B-4970-9F6C-2BF0CA05DD65}"/>
              </a:ext>
            </a:extLst>
          </p:cNvPr>
          <p:cNvSpPr txBox="1"/>
          <p:nvPr/>
        </p:nvSpPr>
        <p:spPr>
          <a:xfrm>
            <a:off x="-2590800" y="3803277"/>
            <a:ext cx="22574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>
                <a:solidFill>
                  <a:srgbClr val="89FFF7"/>
                </a:solidFill>
                <a:latin typeface="Brush Script MT" panose="03060802040406070304" pitchFamily="66" charset="0"/>
              </a:rPr>
              <a:t>…a learning caf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07F4B3-A745-4050-8EB0-BCB49575F523}"/>
              </a:ext>
            </a:extLst>
          </p:cNvPr>
          <p:cNvSpPr txBox="1"/>
          <p:nvPr/>
        </p:nvSpPr>
        <p:spPr>
          <a:xfrm>
            <a:off x="12329297" y="5562600"/>
            <a:ext cx="35445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dirty="0">
                <a:solidFill>
                  <a:srgbClr val="FFC000"/>
                </a:solidFill>
                <a:latin typeface="Angsana New" panose="02020603050405020304" pitchFamily="18" charset="-34"/>
                <a:cs typeface="Angsana New" panose="02020603050405020304" pitchFamily="18" charset="-34"/>
              </a:rPr>
              <a:t>Making Mind Matrix </a:t>
            </a:r>
            <a:r>
              <a:rPr lang="en-IN" sz="2000" i="1" dirty="0">
                <a:solidFill>
                  <a:srgbClr val="FFC000"/>
                </a:solidFill>
                <a:latin typeface="Angsana New" panose="02020603050405020304" pitchFamily="18" charset="-34"/>
                <a:cs typeface="Angsana New" panose="02020603050405020304" pitchFamily="18" charset="-34"/>
              </a:rPr>
              <a:t>to start new expedition </a:t>
            </a:r>
          </a:p>
        </p:txBody>
      </p:sp>
    </p:spTree>
    <p:extLst>
      <p:ext uri="{BB962C8B-B14F-4D97-AF65-F5344CB8AC3E}">
        <p14:creationId xmlns:p14="http://schemas.microsoft.com/office/powerpoint/2010/main" val="3757054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225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59259E-6 L 0.39492 0.00209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40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44444E-6 L -0.80338 -4.44444E-6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16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9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215484" y="3533111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D7460973-F1C1-46A2-BF5A-3F9E33CBBDE6}"/>
              </a:ext>
            </a:extLst>
          </p:cNvPr>
          <p:cNvGrpSpPr/>
          <p:nvPr/>
        </p:nvGrpSpPr>
        <p:grpSpPr>
          <a:xfrm>
            <a:off x="560665" y="4187758"/>
            <a:ext cx="518814" cy="515375"/>
            <a:chOff x="560665" y="4187758"/>
            <a:chExt cx="518814" cy="51537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923A2E4-F7B5-4F8A-ABF8-2517F9645EC4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4187758"/>
              <a:ext cx="518814" cy="515375"/>
            </a:xfrm>
            <a:prstGeom prst="ellipse">
              <a:avLst/>
            </a:prstGeom>
            <a:gradFill>
              <a:gsLst>
                <a:gs pos="47000">
                  <a:srgbClr val="FFFF00"/>
                </a:gs>
                <a:gs pos="44000">
                  <a:srgbClr val="C8DD0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7" name="Graphic 76" descr="Puzzle">
              <a:extLst>
                <a:ext uri="{FF2B5EF4-FFF2-40B4-BE49-F238E27FC236}">
                  <a16:creationId xmlns:a16="http://schemas.microsoft.com/office/drawing/2014/main" id="{AF6EA8FD-8820-48A3-993A-FD270F21A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62901" y="4287383"/>
              <a:ext cx="337448" cy="33744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38" name="Group 1037">
            <a:extLst>
              <a:ext uri="{FF2B5EF4-FFF2-40B4-BE49-F238E27FC236}">
                <a16:creationId xmlns:a16="http://schemas.microsoft.com/office/drawing/2014/main" id="{8F7FF6D0-FEDA-49B4-93DD-0DD03AB8721C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45174" y="3007288"/>
            <a:ext cx="234996" cy="28012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838C882-805B-4A7D-843E-88FA895C583B}"/>
              </a:ext>
            </a:extLst>
          </p:cNvPr>
          <p:cNvGrpSpPr/>
          <p:nvPr/>
        </p:nvGrpSpPr>
        <p:grpSpPr>
          <a:xfrm>
            <a:off x="560665" y="3648571"/>
            <a:ext cx="518814" cy="515375"/>
            <a:chOff x="560665" y="3648571"/>
            <a:chExt cx="518814" cy="51537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697B509-C4BC-48DA-A4A5-0615D4A18EDD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648571"/>
              <a:ext cx="518814" cy="515375"/>
            </a:xfrm>
            <a:prstGeom prst="ellipse">
              <a:avLst/>
            </a:prstGeom>
            <a:gradFill>
              <a:gsLst>
                <a:gs pos="45000">
                  <a:srgbClr val="E9A701"/>
                </a:gs>
                <a:gs pos="55000">
                  <a:srgbClr val="FFE8A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1" name="Picture 14">
              <a:extLst>
                <a:ext uri="{FF2B5EF4-FFF2-40B4-BE49-F238E27FC236}">
                  <a16:creationId xmlns:a16="http://schemas.microsoft.com/office/drawing/2014/main" id="{BCBEC5B7-736F-487A-A8D3-C03122E974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521" y="3730783"/>
              <a:ext cx="417531" cy="369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  <a:stCxn id="92" idx="3"/>
          </p:cNvCxnSpPr>
          <p:nvPr/>
        </p:nvCxnSpPr>
        <p:spPr>
          <a:xfrm>
            <a:off x="2475612" y="5555644"/>
            <a:ext cx="9602199" cy="152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8893231" cy="1013078"/>
            <a:chOff x="2330824" y="5725146"/>
            <a:chExt cx="8660212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747238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IN" dirty="0">
                  <a:solidFill>
                    <a:schemeClr val="bg1"/>
                  </a:solidFill>
                </a:rPr>
                <a:t>binding means backing services are injected in a container during runtime</a:t>
              </a:r>
              <a:br>
                <a:rPr lang="en-IN" dirty="0">
                  <a:solidFill>
                    <a:schemeClr val="bg1"/>
                  </a:solidFill>
                </a:rPr>
              </a:br>
              <a:r>
                <a:rPr lang="en-IN" dirty="0">
                  <a:solidFill>
                    <a:schemeClr val="bg1"/>
                  </a:solidFill>
                </a:rPr>
                <a:t>instead of compile time. 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CF6A3085-E0D2-4EC1-8813-8B7070629574}"/>
              </a:ext>
            </a:extLst>
          </p:cNvPr>
          <p:cNvSpPr>
            <a:spLocks noChangeAspect="1"/>
          </p:cNvSpPr>
          <p:nvPr/>
        </p:nvSpPr>
        <p:spPr>
          <a:xfrm>
            <a:off x="1799068" y="762181"/>
            <a:ext cx="3982455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60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66D69BE-F433-4611-AF76-A5D854E24C5A}"/>
              </a:ext>
            </a:extLst>
          </p:cNvPr>
          <p:cNvSpPr/>
          <p:nvPr/>
        </p:nvSpPr>
        <p:spPr>
          <a:xfrm>
            <a:off x="1799067" y="1077940"/>
            <a:ext cx="383731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C0B5E2-8DA9-4EFB-82C4-05575B4BAC56}"/>
              </a:ext>
            </a:extLst>
          </p:cNvPr>
          <p:cNvSpPr/>
          <p:nvPr/>
        </p:nvSpPr>
        <p:spPr>
          <a:xfrm>
            <a:off x="2295729" y="1063257"/>
            <a:ext cx="17561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backing services </a:t>
            </a:r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FA5866-A472-48D0-AA6F-0AC5DB861D98}"/>
              </a:ext>
            </a:extLst>
          </p:cNvPr>
          <p:cNvSpPr/>
          <p:nvPr/>
        </p:nvSpPr>
        <p:spPr>
          <a:xfrm>
            <a:off x="4120937" y="186600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>
                <a:solidFill>
                  <a:srgbClr val="19FFC3"/>
                </a:solidFill>
              </a:rPr>
              <a:t>A backing service is any service the app consumes over the network as part of its normal operation.</a:t>
            </a:r>
            <a:endParaRPr lang="en-IN" i="1" dirty="0">
              <a:solidFill>
                <a:srgbClr val="19FFC3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F4E2DD41-C9D0-423B-8B63-DB6DB8C54619}"/>
              </a:ext>
            </a:extLst>
          </p:cNvPr>
          <p:cNvSpPr txBox="1"/>
          <p:nvPr/>
        </p:nvSpPr>
        <p:spPr>
          <a:xfrm>
            <a:off x="4724400" y="3124200"/>
            <a:ext cx="5034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FF00"/>
                </a:solidFill>
              </a:rPr>
              <a:t>Local Services + Remote Services </a:t>
            </a:r>
            <a:r>
              <a:rPr lang="en-US" dirty="0">
                <a:solidFill>
                  <a:srgbClr val="19FFC3"/>
                </a:solidFill>
              </a:rPr>
              <a:t>= Backing Service </a:t>
            </a:r>
            <a:endParaRPr lang="en-IN" dirty="0"/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328A634A-B469-433F-8375-CAEDF446AA2D}"/>
              </a:ext>
            </a:extLst>
          </p:cNvPr>
          <p:cNvSpPr/>
          <p:nvPr/>
        </p:nvSpPr>
        <p:spPr>
          <a:xfrm>
            <a:off x="8001000" y="3003593"/>
            <a:ext cx="1600200" cy="585078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32" name="Picture 4">
            <a:extLst>
              <a:ext uri="{FF2B5EF4-FFF2-40B4-BE49-F238E27FC236}">
                <a16:creationId xmlns:a16="http://schemas.microsoft.com/office/drawing/2014/main" id="{9EB7E359-E3A0-4481-B146-79F17D448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551" y="4358273"/>
            <a:ext cx="1005235" cy="100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34" name="Straight Arrow Connector 1033">
            <a:extLst>
              <a:ext uri="{FF2B5EF4-FFF2-40B4-BE49-F238E27FC236}">
                <a16:creationId xmlns:a16="http://schemas.microsoft.com/office/drawing/2014/main" id="{BA1AAB70-D48B-4FCF-8838-259E97F23826}"/>
              </a:ext>
            </a:extLst>
          </p:cNvPr>
          <p:cNvCxnSpPr>
            <a:stCxn id="1030" idx="2"/>
            <a:endCxn id="1032" idx="0"/>
          </p:cNvCxnSpPr>
          <p:nvPr/>
        </p:nvCxnSpPr>
        <p:spPr>
          <a:xfrm>
            <a:off x="8801100" y="3588671"/>
            <a:ext cx="25069" cy="76960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35" name="TextBox 1034">
            <a:extLst>
              <a:ext uri="{FF2B5EF4-FFF2-40B4-BE49-F238E27FC236}">
                <a16:creationId xmlns:a16="http://schemas.microsoft.com/office/drawing/2014/main" id="{BE2F2A66-C435-4528-8B7F-37F845BDF6B7}"/>
              </a:ext>
            </a:extLst>
          </p:cNvPr>
          <p:cNvSpPr txBox="1"/>
          <p:nvPr/>
        </p:nvSpPr>
        <p:spPr>
          <a:xfrm>
            <a:off x="9202822" y="3786673"/>
            <a:ext cx="2326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Backing services are </a:t>
            </a:r>
            <a:br>
              <a:rPr lang="en-IN" sz="1600" dirty="0">
                <a:solidFill>
                  <a:schemeClr val="bg1"/>
                </a:solidFill>
              </a:rPr>
            </a:br>
            <a:r>
              <a:rPr lang="en-IN" sz="1600" b="1" dirty="0" err="1">
                <a:solidFill>
                  <a:schemeClr val="accent2"/>
                </a:solidFill>
              </a:rPr>
              <a:t>binded</a:t>
            </a:r>
            <a:r>
              <a:rPr lang="en-IN" sz="1600" dirty="0">
                <a:solidFill>
                  <a:schemeClr val="bg1"/>
                </a:solidFill>
              </a:rPr>
              <a:t> by URL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F75FE34-CCE6-4856-9B9E-0A5F72C0D1B5}"/>
              </a:ext>
            </a:extLst>
          </p:cNvPr>
          <p:cNvGrpSpPr/>
          <p:nvPr/>
        </p:nvGrpSpPr>
        <p:grpSpPr>
          <a:xfrm>
            <a:off x="5117009" y="4524129"/>
            <a:ext cx="534400" cy="530858"/>
            <a:chOff x="560665" y="3134013"/>
            <a:chExt cx="518814" cy="515375"/>
          </a:xfrm>
        </p:grpSpPr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897E244E-FF24-49D3-A131-462D060E585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114" name="Tools3">
              <a:extLst>
                <a:ext uri="{FF2B5EF4-FFF2-40B4-BE49-F238E27FC236}">
                  <a16:creationId xmlns:a16="http://schemas.microsoft.com/office/drawing/2014/main" id="{595B6C7D-97A3-4E71-8ADD-82D179B4187B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CC2C229-1F68-4D31-A2B6-314FC6A9D7AB}"/>
              </a:ext>
            </a:extLst>
          </p:cNvPr>
          <p:cNvCxnSpPr>
            <a:cxnSpLocks/>
          </p:cNvCxnSpPr>
          <p:nvPr/>
        </p:nvCxnSpPr>
        <p:spPr>
          <a:xfrm>
            <a:off x="5781523" y="4789558"/>
            <a:ext cx="2612889" cy="0"/>
          </a:xfrm>
          <a:prstGeom prst="straightConnector1">
            <a:avLst/>
          </a:prstGeom>
          <a:ln w="12700">
            <a:prstDash val="sysDash"/>
            <a:headEnd type="none" w="med" len="med"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56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-0.00052 -0.46296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31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3.54167E-6 0.13542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4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55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6" dur="2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indefinite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8" dur="indefinite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6" grpId="0"/>
      <p:bldP spid="16" grpId="1"/>
      <p:bldP spid="1030" grpId="0" animBg="1"/>
      <p:bldP spid="103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093319" y="2870903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24113" y="3519231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3149" y="3019350"/>
            <a:ext cx="220642" cy="263013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838C882-805B-4A7D-843E-88FA895C583B}"/>
              </a:ext>
            </a:extLst>
          </p:cNvPr>
          <p:cNvGrpSpPr/>
          <p:nvPr/>
        </p:nvGrpSpPr>
        <p:grpSpPr>
          <a:xfrm>
            <a:off x="560665" y="3648571"/>
            <a:ext cx="518814" cy="515375"/>
            <a:chOff x="560665" y="3648571"/>
            <a:chExt cx="518814" cy="51537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697B509-C4BC-48DA-A4A5-0615D4A18EDD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648571"/>
              <a:ext cx="518814" cy="515375"/>
            </a:xfrm>
            <a:prstGeom prst="ellipse">
              <a:avLst/>
            </a:prstGeom>
            <a:gradFill>
              <a:gsLst>
                <a:gs pos="45000">
                  <a:srgbClr val="E9A701"/>
                </a:gs>
                <a:gs pos="55000">
                  <a:srgbClr val="FFE8A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1" name="Picture 14">
              <a:extLst>
                <a:ext uri="{FF2B5EF4-FFF2-40B4-BE49-F238E27FC236}">
                  <a16:creationId xmlns:a16="http://schemas.microsoft.com/office/drawing/2014/main" id="{BCBEC5B7-736F-487A-A8D3-C03122E974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521" y="3730783"/>
              <a:ext cx="417531" cy="369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CF6A3085-E0D2-4EC1-8813-8B7070629574}"/>
              </a:ext>
            </a:extLst>
          </p:cNvPr>
          <p:cNvSpPr>
            <a:spLocks noChangeAspect="1"/>
          </p:cNvSpPr>
          <p:nvPr/>
        </p:nvSpPr>
        <p:spPr>
          <a:xfrm>
            <a:off x="1799068" y="762181"/>
            <a:ext cx="3982456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60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66D69BE-F433-4611-AF76-A5D854E24C5A}"/>
              </a:ext>
            </a:extLst>
          </p:cNvPr>
          <p:cNvSpPr/>
          <p:nvPr/>
        </p:nvSpPr>
        <p:spPr>
          <a:xfrm>
            <a:off x="1799067" y="1077940"/>
            <a:ext cx="383731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C0B5E2-8DA9-4EFB-82C4-05575B4BAC56}"/>
              </a:ext>
            </a:extLst>
          </p:cNvPr>
          <p:cNvSpPr/>
          <p:nvPr/>
        </p:nvSpPr>
        <p:spPr>
          <a:xfrm>
            <a:off x="2295729" y="1063257"/>
            <a:ext cx="17561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backing services </a:t>
            </a:r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FA5866-A472-48D0-AA6F-0AC5DB861D98}"/>
              </a:ext>
            </a:extLst>
          </p:cNvPr>
          <p:cNvSpPr/>
          <p:nvPr/>
        </p:nvSpPr>
        <p:spPr>
          <a:xfrm>
            <a:off x="4120937" y="186600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9FFC3"/>
                </a:solidFill>
              </a:rPr>
              <a:t>A backing service is any service the app consumes over the network as part of its normal operation.</a:t>
            </a:r>
            <a:endParaRPr lang="en-IN" dirty="0">
              <a:solidFill>
                <a:srgbClr val="19FFC3"/>
              </a:solidFill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4746BD4C-1B1A-4723-84F9-2FA3114AD62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07" y="2561036"/>
            <a:ext cx="976453" cy="1144318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4BC46A7B-A276-498B-A595-8601A941655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910" y="2773911"/>
            <a:ext cx="746701" cy="746701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C3021FC4-C97A-4EFB-9758-7B67B7503275}"/>
              </a:ext>
            </a:extLst>
          </p:cNvPr>
          <p:cNvPicPr>
            <a:picLocks noChangeAspect="1"/>
          </p:cNvPicPr>
          <p:nvPr/>
        </p:nvPicPr>
        <p:blipFill>
          <a:blip r:embed="rId3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9712" y="2678395"/>
            <a:ext cx="707344" cy="74614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7D55FF76-5462-4B81-ACDC-9992445DFA9B}"/>
              </a:ext>
            </a:extLst>
          </p:cNvPr>
          <p:cNvSpPr txBox="1"/>
          <p:nvPr/>
        </p:nvSpPr>
        <p:spPr>
          <a:xfrm>
            <a:off x="2821717" y="2910093"/>
            <a:ext cx="180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FF00"/>
                </a:solidFill>
              </a:rPr>
              <a:t>In memory cach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03CD6BD-D003-4A41-BDE7-59FD9C459ABA}"/>
              </a:ext>
            </a:extLst>
          </p:cNvPr>
          <p:cNvSpPr txBox="1"/>
          <p:nvPr/>
        </p:nvSpPr>
        <p:spPr>
          <a:xfrm>
            <a:off x="6192484" y="3024666"/>
            <a:ext cx="18212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err="1">
                <a:solidFill>
                  <a:srgbClr val="FFFF00"/>
                </a:solidFill>
              </a:rPr>
              <a:t>Nosql</a:t>
            </a:r>
            <a:r>
              <a:rPr lang="en-IN" dirty="0">
                <a:solidFill>
                  <a:srgbClr val="FFFF00"/>
                </a:solidFill>
              </a:rPr>
              <a:t> Databased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8B20D95-EC60-4153-8D81-F31927820E94}"/>
              </a:ext>
            </a:extLst>
          </p:cNvPr>
          <p:cNvSpPr txBox="1"/>
          <p:nvPr/>
        </p:nvSpPr>
        <p:spPr>
          <a:xfrm>
            <a:off x="9016314" y="3051467"/>
            <a:ext cx="1962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FF00"/>
                </a:solidFill>
              </a:rPr>
              <a:t>Messaging Service</a:t>
            </a: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7046E243-4207-494C-87C1-8039CE434DB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909" y="4583087"/>
            <a:ext cx="746702" cy="746702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524DF306-EC4D-4789-B11E-AB9988424AD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492" y="4523555"/>
            <a:ext cx="1237684" cy="829249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1598DCEA-5B34-422A-A422-8839E276052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36" y="4500436"/>
            <a:ext cx="788697" cy="788697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754B988-C021-4921-8FDC-835FDBC84098}"/>
              </a:ext>
            </a:extLst>
          </p:cNvPr>
          <p:cNvCxnSpPr>
            <a:cxnSpLocks/>
            <a:stCxn id="86" idx="2"/>
            <a:endCxn id="94" idx="0"/>
          </p:cNvCxnSpPr>
          <p:nvPr/>
        </p:nvCxnSpPr>
        <p:spPr>
          <a:xfrm flipH="1">
            <a:off x="5028260" y="3520612"/>
            <a:ext cx="1" cy="1062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F3D4D019-36B2-4438-9379-2ECEA6F04198}"/>
              </a:ext>
            </a:extLst>
          </p:cNvPr>
          <p:cNvCxnSpPr>
            <a:stCxn id="85" idx="2"/>
            <a:endCxn id="96" idx="0"/>
          </p:cNvCxnSpPr>
          <p:nvPr/>
        </p:nvCxnSpPr>
        <p:spPr>
          <a:xfrm>
            <a:off x="8316334" y="3705354"/>
            <a:ext cx="0" cy="818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2F097FD7-504F-46C9-B087-5C9E381203A5}"/>
              </a:ext>
            </a:extLst>
          </p:cNvPr>
          <p:cNvCxnSpPr>
            <a:stCxn id="87" idx="2"/>
            <a:endCxn id="97" idx="0"/>
          </p:cNvCxnSpPr>
          <p:nvPr/>
        </p:nvCxnSpPr>
        <p:spPr>
          <a:xfrm>
            <a:off x="11373384" y="3424539"/>
            <a:ext cx="1" cy="1075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501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8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-0.00052 -0.46296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31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3.54167E-6 0.13542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6" grpId="0"/>
      <p:bldP spid="16" grpId="1"/>
      <p:bldP spid="88" grpId="0"/>
      <p:bldP spid="89" grpId="0"/>
      <p:bldP spid="9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60572A50-EDCB-4D43-A1DA-5EA7CE84C2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3091823"/>
              </p:ext>
            </p:extLst>
          </p:nvPr>
        </p:nvGraphicFramePr>
        <p:xfrm>
          <a:off x="852047" y="1842632"/>
          <a:ext cx="6821714" cy="3567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226869" y="3522501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AA21386-4BD0-41DF-8D34-E054EE880071}"/>
              </a:ext>
            </a:extLst>
          </p:cNvPr>
          <p:cNvGrpSpPr/>
          <p:nvPr/>
        </p:nvGrpSpPr>
        <p:grpSpPr>
          <a:xfrm>
            <a:off x="560665" y="4187758"/>
            <a:ext cx="518814" cy="515375"/>
            <a:chOff x="560665" y="4187758"/>
            <a:chExt cx="518814" cy="51537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923A2E4-F7B5-4F8A-ABF8-2517F9645EC4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560665" y="4187758"/>
              <a:ext cx="518814" cy="515375"/>
            </a:xfrm>
            <a:prstGeom prst="ellipse">
              <a:avLst/>
            </a:prstGeom>
            <a:gradFill>
              <a:gsLst>
                <a:gs pos="47000">
                  <a:srgbClr val="FFFF00"/>
                </a:gs>
                <a:gs pos="44000">
                  <a:srgbClr val="C8DD0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7" name="Graphic 76" descr="Puzzle">
              <a:extLst>
                <a:ext uri="{FF2B5EF4-FFF2-40B4-BE49-F238E27FC236}">
                  <a16:creationId xmlns:a16="http://schemas.microsoft.com/office/drawing/2014/main" id="{AF6EA8FD-8820-48A3-993A-FD270F21A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 rot="21570982">
              <a:off x="662901" y="4287383"/>
              <a:ext cx="337448" cy="33744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7D4E90E-0F3A-4CC6-B758-3634E2C5ABCF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25958" y="2978828"/>
            <a:ext cx="270702" cy="322687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638846" y="4798347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1771165" y="7012693"/>
            <a:ext cx="10406917" cy="1285374"/>
            <a:chOff x="2330824" y="5725146"/>
            <a:chExt cx="10134211" cy="12853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946388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Build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</a:t>
              </a: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he build stage is a transform which converts a code repo into an executable</a:t>
              </a:r>
              <a:b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 bundle known as a build. Using a version of the code at a commit specified by the </a:t>
              </a:r>
              <a:b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deployment process, the build stage fetches vendors dependencies and compiles binaries and assets.</a:t>
              </a:r>
              <a:endParaRPr lang="en-IN" sz="1500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  <a:p>
              <a:endParaRPr lang="en-IN" dirty="0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9D5D9326-8969-4323-A408-8D4C63D8BB4A}"/>
              </a:ext>
            </a:extLst>
          </p:cNvPr>
          <p:cNvSpPr>
            <a:spLocks noChangeAspect="1"/>
          </p:cNvSpPr>
          <p:nvPr/>
        </p:nvSpPr>
        <p:spPr>
          <a:xfrm>
            <a:off x="2238349" y="607570"/>
            <a:ext cx="4114800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A9D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UILD, RELEASE, RUN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rictly separate build and run stages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69D426C-D86C-4CE5-BE62-B0AD58E96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572" y="1680227"/>
            <a:ext cx="913913" cy="91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872A5D6B-F225-4AE9-8538-D074DA731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2216" y="2892736"/>
            <a:ext cx="1066314" cy="1073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188A4D1D-7762-4008-8C8E-D0ADC5D43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0587" y="4330555"/>
            <a:ext cx="1066313" cy="8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C694BBDC-D8D1-4E98-BEFC-89EE3CFD0BCC}"/>
              </a:ext>
            </a:extLst>
          </p:cNvPr>
          <p:cNvGrpSpPr/>
          <p:nvPr/>
        </p:nvGrpSpPr>
        <p:grpSpPr>
          <a:xfrm>
            <a:off x="4956801" y="1811417"/>
            <a:ext cx="545334" cy="541717"/>
            <a:chOff x="580682" y="2101204"/>
            <a:chExt cx="527604" cy="524105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D9EB5F7-3BE6-4EE7-B59D-FDA6AF85D142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85" name="Picture 18">
              <a:extLst>
                <a:ext uri="{FF2B5EF4-FFF2-40B4-BE49-F238E27FC236}">
                  <a16:creationId xmlns:a16="http://schemas.microsoft.com/office/drawing/2014/main" id="{CA4D7201-AC71-4397-9976-5979F419B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541C146D-8AFD-4929-A541-3705313E3CDB}"/>
              </a:ext>
            </a:extLst>
          </p:cNvPr>
          <p:cNvGrpSpPr/>
          <p:nvPr/>
        </p:nvGrpSpPr>
        <p:grpSpPr>
          <a:xfrm>
            <a:off x="7581912" y="1879497"/>
            <a:ext cx="506928" cy="515375"/>
            <a:chOff x="580898" y="2620500"/>
            <a:chExt cx="506928" cy="515375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30BD0DB-3A27-48B8-9116-61CDFBE9A6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8" name="Picture 16">
              <a:extLst>
                <a:ext uri="{FF2B5EF4-FFF2-40B4-BE49-F238E27FC236}">
                  <a16:creationId xmlns:a16="http://schemas.microsoft.com/office/drawing/2014/main" id="{4B3601E0-6937-4858-BF60-5AFC553935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A597501-972D-40F2-A7ED-5944E04A9277}"/>
              </a:ext>
            </a:extLst>
          </p:cNvPr>
          <p:cNvSpPr txBox="1"/>
          <p:nvPr/>
        </p:nvSpPr>
        <p:spPr>
          <a:xfrm>
            <a:off x="6720120" y="1821183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0EDE2A2-CE99-4F91-A316-A6A4E1E364C3}"/>
              </a:ext>
            </a:extLst>
          </p:cNvPr>
          <p:cNvSpPr txBox="1"/>
          <p:nvPr/>
        </p:nvSpPr>
        <p:spPr>
          <a:xfrm>
            <a:off x="8485151" y="1842632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7E3F1B-7236-4F25-80F9-7D90CD349EB3}"/>
              </a:ext>
            </a:extLst>
          </p:cNvPr>
          <p:cNvSpPr txBox="1"/>
          <p:nvPr/>
        </p:nvSpPr>
        <p:spPr>
          <a:xfrm>
            <a:off x="4299608" y="2370259"/>
            <a:ext cx="1975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89FFF7"/>
                </a:solidFill>
              </a:rPr>
              <a:t>Specified commit </a:t>
            </a:r>
            <a:br>
              <a:rPr lang="en-IN" dirty="0">
                <a:solidFill>
                  <a:srgbClr val="89FFF7"/>
                </a:solidFill>
              </a:rPr>
            </a:br>
            <a:r>
              <a:rPr lang="en-IN" dirty="0">
                <a:solidFill>
                  <a:srgbClr val="89FFF7"/>
                </a:solidFill>
              </a:rPr>
              <a:t>of code repo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671B686-A2CD-4126-B069-904752186F96}"/>
              </a:ext>
            </a:extLst>
          </p:cNvPr>
          <p:cNvSpPr txBox="1"/>
          <p:nvPr/>
        </p:nvSpPr>
        <p:spPr>
          <a:xfrm>
            <a:off x="7250420" y="2400214"/>
            <a:ext cx="14959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9FFF7"/>
                </a:solidFill>
              </a:rPr>
              <a:t>vendors </a:t>
            </a:r>
            <a:br>
              <a:rPr lang="en-US" dirty="0">
                <a:solidFill>
                  <a:srgbClr val="89FFF7"/>
                </a:solidFill>
              </a:rPr>
            </a:br>
            <a:r>
              <a:rPr lang="en-US" dirty="0">
                <a:solidFill>
                  <a:srgbClr val="89FFF7"/>
                </a:solidFill>
              </a:rPr>
              <a:t>dependencies</a:t>
            </a:r>
            <a:endParaRPr lang="en-IN" dirty="0">
              <a:solidFill>
                <a:srgbClr val="89FFF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E0BE10-4F0A-4803-9115-01D2805F4DA1}"/>
              </a:ext>
            </a:extLst>
          </p:cNvPr>
          <p:cNvSpPr txBox="1"/>
          <p:nvPr/>
        </p:nvSpPr>
        <p:spPr>
          <a:xfrm>
            <a:off x="9067801" y="2508224"/>
            <a:ext cx="174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executable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 bundle</a:t>
            </a:r>
            <a:endParaRPr lang="en-IN" dirty="0">
              <a:solidFill>
                <a:schemeClr val="accent4"/>
              </a:solidFill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B735808-1940-439F-BC3E-44BD64DE7B0D}"/>
              </a:ext>
            </a:extLst>
          </p:cNvPr>
          <p:cNvGrpSpPr/>
          <p:nvPr/>
        </p:nvGrpSpPr>
        <p:grpSpPr>
          <a:xfrm>
            <a:off x="1654981" y="8346401"/>
            <a:ext cx="10584411" cy="1150239"/>
            <a:chOff x="2334484" y="5719680"/>
            <a:chExt cx="10307053" cy="1150239"/>
          </a:xfrm>
        </p:grpSpPr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C2EE293A-253F-48F6-9747-A036676E2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484" y="5719680"/>
              <a:ext cx="1136162" cy="101307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8FDF6D3-4857-4EB7-A066-C62FA7C71D17}"/>
                </a:ext>
              </a:extLst>
            </p:cNvPr>
            <p:cNvSpPr txBox="1"/>
            <p:nvPr/>
          </p:nvSpPr>
          <p:spPr>
            <a:xfrm>
              <a:off x="3409486" y="6008145"/>
              <a:ext cx="9232051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bg1">
                      <a:lumMod val="50000"/>
                    </a:schemeClr>
                  </a:solidFill>
                  <a:latin typeface="Comic Sans MS" panose="030F0702030302020204" pitchFamily="66" charset="0"/>
                </a:rPr>
                <a:t>RELEASE</a:t>
              </a:r>
              <a:r>
                <a:rPr lang="en-IN" dirty="0">
                  <a:solidFill>
                    <a:schemeClr val="bg1">
                      <a:lumMod val="65000"/>
                    </a:schemeClr>
                  </a:solidFill>
                  <a:latin typeface="Comic Sans MS" panose="030F0702030302020204" pitchFamily="66" charset="0"/>
                </a:rPr>
                <a:t>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he release stage takes the build produced by the build stage and combines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 it with the deploy’ s current config. The resulting release contains both the build and the config 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and is ready for immediate execution in the execution environment.</a:t>
              </a:r>
              <a:endParaRPr lang="en-IN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1518FA1-3084-4F8F-8D3B-BCDA8D2E1C65}"/>
              </a:ext>
            </a:extLst>
          </p:cNvPr>
          <p:cNvGrpSpPr/>
          <p:nvPr/>
        </p:nvGrpSpPr>
        <p:grpSpPr>
          <a:xfrm>
            <a:off x="1447960" y="9614028"/>
            <a:ext cx="9815114" cy="1013078"/>
            <a:chOff x="2330824" y="5725146"/>
            <a:chExt cx="9557917" cy="1013078"/>
          </a:xfrm>
        </p:grpSpPr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7EA55C69-5FFD-43D1-BF8E-7B862084C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221628E-93E9-44B0-B8B1-DFDE9A13522C}"/>
                </a:ext>
              </a:extLst>
            </p:cNvPr>
            <p:cNvSpPr txBox="1"/>
            <p:nvPr/>
          </p:nvSpPr>
          <p:spPr>
            <a:xfrm>
              <a:off x="3476214" y="5897178"/>
              <a:ext cx="8412527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rgbClr val="92D050"/>
                  </a:solidFill>
                  <a:latin typeface="Comic Sans MS" panose="030F0702030302020204" pitchFamily="66" charset="0"/>
                </a:rPr>
                <a:t>RUN</a:t>
              </a:r>
              <a:r>
                <a:rPr lang="en-IN" dirty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he run stage (also known as “runtime”) runs the app in the execution environment, 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by launching some set of the app’s processes against a selected release</a:t>
              </a:r>
              <a:endParaRPr lang="en-IN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A42562CB-4340-4B28-A95F-7D36FFCE2574}"/>
              </a:ext>
            </a:extLst>
          </p:cNvPr>
          <p:cNvSpPr txBox="1"/>
          <p:nvPr/>
        </p:nvSpPr>
        <p:spPr>
          <a:xfrm>
            <a:off x="7346752" y="3304046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E92D79C5-5BE7-4A36-847F-91B90BB45D79}"/>
              </a:ext>
            </a:extLst>
          </p:cNvPr>
          <p:cNvGrpSpPr/>
          <p:nvPr/>
        </p:nvGrpSpPr>
        <p:grpSpPr>
          <a:xfrm>
            <a:off x="8615650" y="3262480"/>
            <a:ext cx="518814" cy="515375"/>
            <a:chOff x="560665" y="3134013"/>
            <a:chExt cx="518814" cy="515375"/>
          </a:xfrm>
        </p:grpSpPr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BA91BD2D-CE16-4AE7-9B5D-486DFF288076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114" name="Tools3">
              <a:extLst>
                <a:ext uri="{FF2B5EF4-FFF2-40B4-BE49-F238E27FC236}">
                  <a16:creationId xmlns:a16="http://schemas.microsoft.com/office/drawing/2014/main" id="{A637C1A4-E28C-4085-95B4-485BF8CF8FA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68FF7329-C02F-4F41-9E9C-8D06A240A269}"/>
              </a:ext>
            </a:extLst>
          </p:cNvPr>
          <p:cNvSpPr txBox="1"/>
          <p:nvPr/>
        </p:nvSpPr>
        <p:spPr>
          <a:xfrm>
            <a:off x="9685361" y="3284150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37FB6D4-C47B-4E92-B6C8-A2565B4E7853}"/>
              </a:ext>
            </a:extLst>
          </p:cNvPr>
          <p:cNvSpPr txBox="1"/>
          <p:nvPr/>
        </p:nvSpPr>
        <p:spPr>
          <a:xfrm>
            <a:off x="8612403" y="4557632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1C130C-D3DD-4D21-B57F-7649A6A43DF2}"/>
              </a:ext>
            </a:extLst>
          </p:cNvPr>
          <p:cNvGrpSpPr/>
          <p:nvPr/>
        </p:nvGrpSpPr>
        <p:grpSpPr>
          <a:xfrm>
            <a:off x="9372121" y="4527583"/>
            <a:ext cx="518814" cy="515375"/>
            <a:chOff x="9397610" y="4535939"/>
            <a:chExt cx="518814" cy="515375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CB694988-3FF0-4BE1-AD19-11D982917106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9397610" y="4535939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118" name="Graphic 117" descr="Single gear">
              <a:extLst>
                <a:ext uri="{FF2B5EF4-FFF2-40B4-BE49-F238E27FC236}">
                  <a16:creationId xmlns:a16="http://schemas.microsoft.com/office/drawing/2014/main" id="{A48407DF-1828-4C96-8957-9AC0D84F1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9466640" y="4613343"/>
              <a:ext cx="385557" cy="385557"/>
            </a:xfrm>
            <a:prstGeom prst="rect">
              <a:avLst/>
            </a:prstGeom>
          </p:spPr>
        </p:pic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A373FAFD-7E7D-4BD6-85E4-7F0835CB4572}"/>
              </a:ext>
            </a:extLst>
          </p:cNvPr>
          <p:cNvSpPr txBox="1"/>
          <p:nvPr/>
        </p:nvSpPr>
        <p:spPr>
          <a:xfrm>
            <a:off x="10358436" y="4468923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855854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1.85185E-6 L -0.00156 -0.53704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" y="-26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3.7037E-6 L 4.79167E-6 -0.18889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3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0.01574 L -3.95833E-6 0.09838 C -3.95833E-6 0.14931 -0.07591 0.21274 -0.13763 0.21274 L -0.27526 0.21274 " pathEditMode="relative" rAng="0" ptsTypes="AAAA">
                                      <p:cBhvr>
                                        <p:cTn id="92" dur="2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763" y="11412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07407E-6 L -0.01172 -0.39375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6" y="-196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3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0 L -1.45833E-6 0.10069 C -1.45833E-6 0.1456 -0.07135 0.20139 -0.1293 0.20139 L -0.25846 0.20139 " pathEditMode="relative" rAng="0" ptsTypes="AAAA">
                                      <p:cBhvr>
                                        <p:cTn id="127" dur="2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930" y="10069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1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44444E-6 L -0.03997 -0.56435 " pathEditMode="relative" rAng="0" ptsTypes="AA">
                                      <p:cBhvr>
                                        <p:cTn id="156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05" y="-2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0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20" grpId="0"/>
      <p:bldP spid="89" grpId="0"/>
      <p:bldP spid="21" grpId="0"/>
      <p:bldP spid="22" grpId="0"/>
      <p:bldP spid="23" grpId="0"/>
      <p:bldP spid="109" grpId="0"/>
      <p:bldP spid="115" grpId="0"/>
      <p:bldP spid="117" grpId="0"/>
      <p:bldP spid="12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38200" y="350308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31349" y="3000236"/>
            <a:ext cx="244652" cy="29163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09508D-FDE0-4A5E-8A3A-4E51206B55E7}"/>
              </a:ext>
            </a:extLst>
          </p:cNvPr>
          <p:cNvGrpSpPr/>
          <p:nvPr/>
        </p:nvGrpSpPr>
        <p:grpSpPr>
          <a:xfrm>
            <a:off x="569608" y="4716795"/>
            <a:ext cx="518814" cy="515375"/>
            <a:chOff x="569608" y="4716795"/>
            <a:chExt cx="518814" cy="51537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1757B4B-21BA-49B5-9D85-C006309367B8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9608" y="4716795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0" name="Graphic 79" descr="Single gear">
              <a:extLst>
                <a:ext uri="{FF2B5EF4-FFF2-40B4-BE49-F238E27FC236}">
                  <a16:creationId xmlns:a16="http://schemas.microsoft.com/office/drawing/2014/main" id="{C2F82912-356E-4647-BB53-93FBA657B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2947" y="4808984"/>
              <a:ext cx="385557" cy="385557"/>
            </a:xfrm>
            <a:prstGeom prst="rect">
              <a:avLst/>
            </a:prstGeom>
          </p:spPr>
        </p:pic>
      </p:grpSp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8201050" cy="1013078"/>
            <a:chOff x="2330824" y="5725146"/>
            <a:chExt cx="7986148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79832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Normal hello world program or high-end application both maintain fire &amp; forget mechanism, once the process end the successive call is nothing but a new call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3BE39426-19E4-4A11-B2D0-1B8875FF3124}"/>
              </a:ext>
            </a:extLst>
          </p:cNvPr>
          <p:cNvSpPr>
            <a:spLocks noChangeAspect="1"/>
          </p:cNvSpPr>
          <p:nvPr/>
        </p:nvSpPr>
        <p:spPr>
          <a:xfrm>
            <a:off x="1798308" y="789387"/>
            <a:ext cx="4678692" cy="631519"/>
          </a:xfrm>
          <a:prstGeom prst="accentCallout2">
            <a:avLst>
              <a:gd name="adj1" fmla="val 49263"/>
              <a:gd name="adj2" fmla="val -702"/>
              <a:gd name="adj3" fmla="val 51698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chemeClr val="accent6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</a:t>
            </a:r>
            <a:endParaRPr lang="en-IN" sz="16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BF112B-AA20-47D8-8F6C-4312535D1861}"/>
              </a:ext>
            </a:extLst>
          </p:cNvPr>
          <p:cNvSpPr/>
          <p:nvPr/>
        </p:nvSpPr>
        <p:spPr>
          <a:xfrm>
            <a:off x="4495800" y="1077706"/>
            <a:ext cx="762000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61829D-9183-4CF9-A317-33002E367800}"/>
              </a:ext>
            </a:extLst>
          </p:cNvPr>
          <p:cNvSpPr txBox="1"/>
          <p:nvPr/>
        </p:nvSpPr>
        <p:spPr>
          <a:xfrm>
            <a:off x="3105451" y="1849383"/>
            <a:ext cx="78713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rgbClr val="19FFC3"/>
                </a:solidFill>
              </a:rPr>
              <a:t>All process should be stateless and share nothing, </a:t>
            </a:r>
            <a:r>
              <a:rPr lang="en-US" sz="1600" dirty="0">
                <a:solidFill>
                  <a:srgbClr val="19FFC3"/>
                </a:solidFill>
              </a:rPr>
              <a:t>Any data that needs to persist must be stored in a stateful backing service, typically a database.</a:t>
            </a:r>
            <a:endParaRPr lang="en-IN" sz="1600" dirty="0">
              <a:solidFill>
                <a:srgbClr val="19FFC3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0A371F-962A-44A2-B4EB-304D6E0D1E26}"/>
              </a:ext>
            </a:extLst>
          </p:cNvPr>
          <p:cNvSpPr txBox="1"/>
          <p:nvPr/>
        </p:nvSpPr>
        <p:spPr>
          <a:xfrm>
            <a:off x="3041063" y="46444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C000"/>
                </a:solidFill>
              </a:rPr>
              <a:t>			</a:t>
            </a:r>
            <a:endParaRPr lang="en-IN" dirty="0">
              <a:solidFill>
                <a:schemeClr val="bg1"/>
              </a:solidFill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D6D04639-0208-4194-9103-2CBDB3A37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524" y="2755519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2249D86A-97E7-4DE2-B671-BE58662FF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868" y="2725790"/>
            <a:ext cx="704850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0F53B0BE-D7B0-4EF5-A95F-0E57ECC80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3382" y="3469371"/>
            <a:ext cx="634526" cy="63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DE448D5D-090C-4F86-8ACB-BDFAC50E3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063" y="3423272"/>
            <a:ext cx="828193" cy="76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B45219E-7F9D-48DF-BF3A-963F29CD133E}"/>
              </a:ext>
            </a:extLst>
          </p:cNvPr>
          <p:cNvCxnSpPr>
            <a:cxnSpLocks/>
          </p:cNvCxnSpPr>
          <p:nvPr/>
        </p:nvCxnSpPr>
        <p:spPr>
          <a:xfrm flipV="1">
            <a:off x="3843374" y="3106243"/>
            <a:ext cx="6395494" cy="1544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ACBC712-B128-4409-872A-4B62F28B7A02}"/>
              </a:ext>
            </a:extLst>
          </p:cNvPr>
          <p:cNvCxnSpPr>
            <a:cxnSpLocks/>
          </p:cNvCxnSpPr>
          <p:nvPr/>
        </p:nvCxnSpPr>
        <p:spPr>
          <a:xfrm flipV="1">
            <a:off x="3869256" y="3800374"/>
            <a:ext cx="6464126" cy="2157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28BA0B4C-C7C4-4F8A-9476-5C00A65AF412}"/>
              </a:ext>
            </a:extLst>
          </p:cNvPr>
          <p:cNvSpPr txBox="1"/>
          <p:nvPr/>
        </p:nvSpPr>
        <p:spPr>
          <a:xfrm>
            <a:off x="4195700" y="2750044"/>
            <a:ext cx="5710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B536DB"/>
                </a:solidFill>
              </a:rPr>
              <a:t>A standalone java application launched through “</a:t>
            </a:r>
            <a:r>
              <a:rPr lang="en-IN" sz="1200" b="1" dirty="0" err="1">
                <a:solidFill>
                  <a:srgbClr val="B536DB"/>
                </a:solidFill>
              </a:rPr>
              <a:t>javac</a:t>
            </a:r>
            <a:r>
              <a:rPr lang="en-IN" sz="1200" b="1" dirty="0">
                <a:solidFill>
                  <a:srgbClr val="B536DB"/>
                </a:solidFill>
              </a:rPr>
              <a:t>” </a:t>
            </a:r>
            <a:r>
              <a:rPr lang="en-IN" sz="1200" dirty="0">
                <a:solidFill>
                  <a:srgbClr val="B536DB"/>
                </a:solidFill>
              </a:rPr>
              <a:t>command in developer syste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A197CC1-E3D1-45AF-BCD0-020269A46A03}"/>
              </a:ext>
            </a:extLst>
          </p:cNvPr>
          <p:cNvSpPr txBox="1"/>
          <p:nvPr/>
        </p:nvSpPr>
        <p:spPr>
          <a:xfrm>
            <a:off x="4246222" y="3422094"/>
            <a:ext cx="57101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B536DB"/>
                </a:solidFill>
              </a:rPr>
              <a:t>A production grade, sophisticated app may use many process types, capable to instantiate into zero or more running processes with complex code</a:t>
            </a:r>
            <a:endParaRPr lang="en-IN" sz="1200" dirty="0">
              <a:solidFill>
                <a:srgbClr val="B536DB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AD4B352-7451-41F5-99D7-DF5E7D279B59}"/>
              </a:ext>
            </a:extLst>
          </p:cNvPr>
          <p:cNvSpPr txBox="1"/>
          <p:nvPr/>
        </p:nvSpPr>
        <p:spPr>
          <a:xfrm>
            <a:off x="3334417" y="4193404"/>
            <a:ext cx="80120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Fundamental characteristics should be same</a:t>
            </a:r>
            <a:r>
              <a:rPr lang="en-IN" sz="1200" dirty="0">
                <a:solidFill>
                  <a:schemeClr val="accent2">
                    <a:lumMod val="75000"/>
                  </a:schemeClr>
                </a:solidFill>
                <a:latin typeface="Comic Sans MS" panose="030F0702030302020204" pitchFamily="66" charset="0"/>
              </a:rPr>
              <a:t>, No guarantee that data in memory will be available outside the runtime of current process  </a:t>
            </a:r>
            <a:endParaRPr lang="en-US" sz="1200" dirty="0">
              <a:solidFill>
                <a:schemeClr val="accent2">
                  <a:lumMod val="75000"/>
                </a:schemeClr>
              </a:solidFill>
              <a:latin typeface="Comic Sans MS" panose="030F0702030302020204" pitchFamily="66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Even when running only one process, a restart (triggered by code deploy, config change, or the execution environment relocating the process to a different physical location) will usually wipe out all local (e.g., memory and filesystem) st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An enterprise application anything cached in memory or on disk will be available on a future request or job reason a future request will be served by a different process.</a:t>
            </a:r>
          </a:p>
        </p:txBody>
      </p:sp>
      <p:cxnSp>
        <p:nvCxnSpPr>
          <p:cNvPr id="2049" name="Straight Arrow Connector 2048">
            <a:extLst>
              <a:ext uri="{FF2B5EF4-FFF2-40B4-BE49-F238E27FC236}">
                <a16:creationId xmlns:a16="http://schemas.microsoft.com/office/drawing/2014/main" id="{79E6A07B-5B5E-4DAE-8810-36067A1838F5}"/>
              </a:ext>
            </a:extLst>
          </p:cNvPr>
          <p:cNvCxnSpPr>
            <a:stCxn id="76" idx="2"/>
          </p:cNvCxnSpPr>
          <p:nvPr/>
        </p:nvCxnSpPr>
        <p:spPr>
          <a:xfrm>
            <a:off x="4876800" y="1496817"/>
            <a:ext cx="0" cy="4081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C8473C7-8CB4-4F4A-95B7-39B59D7BD291}"/>
              </a:ext>
            </a:extLst>
          </p:cNvPr>
          <p:cNvGrpSpPr/>
          <p:nvPr/>
        </p:nvGrpSpPr>
        <p:grpSpPr>
          <a:xfrm>
            <a:off x="2057400" y="5650911"/>
            <a:ext cx="7001971" cy="1200042"/>
            <a:chOff x="2057400" y="5650911"/>
            <a:chExt cx="7001971" cy="1200042"/>
          </a:xfrm>
        </p:grpSpPr>
        <p:pic>
          <p:nvPicPr>
            <p:cNvPr id="2057" name="Picture 2056">
              <a:extLst>
                <a:ext uri="{FF2B5EF4-FFF2-40B4-BE49-F238E27FC236}">
                  <a16:creationId xmlns:a16="http://schemas.microsoft.com/office/drawing/2014/main" id="{8A4C96EC-367C-44C8-93D1-C2712312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7400" y="5650911"/>
              <a:ext cx="1200042" cy="1200042"/>
            </a:xfrm>
            <a:prstGeom prst="rect">
              <a:avLst/>
            </a:prstGeom>
          </p:spPr>
        </p:pic>
        <p:sp>
          <p:nvSpPr>
            <p:cNvPr id="2059" name="TextBox 2058">
              <a:extLst>
                <a:ext uri="{FF2B5EF4-FFF2-40B4-BE49-F238E27FC236}">
                  <a16:creationId xmlns:a16="http://schemas.microsoft.com/office/drawing/2014/main" id="{94F86C82-F657-4D2B-B427-5955757A3AE8}"/>
                </a:ext>
              </a:extLst>
            </p:cNvPr>
            <p:cNvSpPr txBox="1"/>
            <p:nvPr/>
          </p:nvSpPr>
          <p:spPr>
            <a:xfrm>
              <a:off x="3772603" y="5928474"/>
              <a:ext cx="52867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Brush Script MT" panose="03060802040406070304" pitchFamily="66" charset="0"/>
                </a:rPr>
                <a:t>Certified Diplodocuses. What stopping you not to use hieroglyphs!!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6189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1.48148E-6 L 1.25E-6 -0.5969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8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2" dur="20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4" dur="20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99" dur="20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04" dur="2000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09" dur="2000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2.59259E-6 L -1.875E-6 -0.18889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76" grpId="0" animBg="1"/>
      <p:bldP spid="42" grpId="0"/>
      <p:bldP spid="9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38200" y="350308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31349" y="3000236"/>
            <a:ext cx="244652" cy="29163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09508D-FDE0-4A5E-8A3A-4E51206B55E7}"/>
              </a:ext>
            </a:extLst>
          </p:cNvPr>
          <p:cNvGrpSpPr/>
          <p:nvPr/>
        </p:nvGrpSpPr>
        <p:grpSpPr>
          <a:xfrm>
            <a:off x="569608" y="4716795"/>
            <a:ext cx="518814" cy="515375"/>
            <a:chOff x="569608" y="4716795"/>
            <a:chExt cx="518814" cy="51537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1757B4B-21BA-49B5-9D85-C006309367B8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9608" y="4716795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0" name="Graphic 79" descr="Single gear">
              <a:extLst>
                <a:ext uri="{FF2B5EF4-FFF2-40B4-BE49-F238E27FC236}">
                  <a16:creationId xmlns:a16="http://schemas.microsoft.com/office/drawing/2014/main" id="{C2F82912-356E-4647-BB53-93FBA657B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2947" y="4808984"/>
              <a:ext cx="385557" cy="385557"/>
            </a:xfrm>
            <a:prstGeom prst="rect">
              <a:avLst/>
            </a:prstGeom>
          </p:spPr>
        </p:pic>
      </p:grpSp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980636" cy="1013078"/>
            <a:chOff x="2330824" y="5725146"/>
            <a:chExt cx="1928735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7409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3BE39426-19E4-4A11-B2D0-1B8875FF3124}"/>
              </a:ext>
            </a:extLst>
          </p:cNvPr>
          <p:cNvSpPr>
            <a:spLocks noChangeAspect="1"/>
          </p:cNvSpPr>
          <p:nvPr/>
        </p:nvSpPr>
        <p:spPr>
          <a:xfrm>
            <a:off x="1798308" y="789387"/>
            <a:ext cx="4678692" cy="631519"/>
          </a:xfrm>
          <a:prstGeom prst="accentCallout2">
            <a:avLst>
              <a:gd name="adj1" fmla="val 49263"/>
              <a:gd name="adj2" fmla="val -702"/>
              <a:gd name="adj3" fmla="val 51698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chemeClr val="accent6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</a:t>
            </a:r>
            <a:endParaRPr lang="en-IN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0A371F-962A-44A2-B4EB-304D6E0D1E26}"/>
              </a:ext>
            </a:extLst>
          </p:cNvPr>
          <p:cNvSpPr txBox="1"/>
          <p:nvPr/>
        </p:nvSpPr>
        <p:spPr>
          <a:xfrm>
            <a:off x="2475612" y="1823331"/>
            <a:ext cx="83017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C000"/>
                </a:solidFill>
              </a:rPr>
              <a:t>			Process centric view</a:t>
            </a:r>
          </a:p>
          <a:p>
            <a:r>
              <a:rPr lang="en-IN" dirty="0">
                <a:solidFill>
                  <a:schemeClr val="bg1"/>
                </a:solidFill>
              </a:rPr>
              <a:t>Application themselves are deployed like one or more processes instead of embedding</a:t>
            </a:r>
            <a:br>
              <a:rPr lang="en-IN" dirty="0">
                <a:solidFill>
                  <a:schemeClr val="bg1"/>
                </a:solidFill>
              </a:rPr>
            </a:br>
            <a:r>
              <a:rPr lang="en-IN" dirty="0">
                <a:solidFill>
                  <a:schemeClr val="bg1"/>
                </a:solidFill>
              </a:rPr>
              <a:t> them in one process</a:t>
            </a:r>
          </a:p>
        </p:txBody>
      </p:sp>
      <p:pic>
        <p:nvPicPr>
          <p:cNvPr id="2057" name="Picture 2056">
            <a:extLst>
              <a:ext uri="{FF2B5EF4-FFF2-40B4-BE49-F238E27FC236}">
                <a16:creationId xmlns:a16="http://schemas.microsoft.com/office/drawing/2014/main" id="{8A4C96EC-367C-44C8-93D1-C2712312932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5650911"/>
            <a:ext cx="1200042" cy="1200042"/>
          </a:xfrm>
          <a:prstGeom prst="rect">
            <a:avLst/>
          </a:prstGeom>
        </p:spPr>
      </p:pic>
      <p:sp>
        <p:nvSpPr>
          <p:cNvPr id="2059" name="TextBox 2058">
            <a:extLst>
              <a:ext uri="{FF2B5EF4-FFF2-40B4-BE49-F238E27FC236}">
                <a16:creationId xmlns:a16="http://schemas.microsoft.com/office/drawing/2014/main" id="{94F86C82-F657-4D2B-B427-5955757A3AE8}"/>
              </a:ext>
            </a:extLst>
          </p:cNvPr>
          <p:cNvSpPr txBox="1"/>
          <p:nvPr/>
        </p:nvSpPr>
        <p:spPr>
          <a:xfrm>
            <a:off x="3772603" y="5928474"/>
            <a:ext cx="528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2">
                    <a:lumMod val="60000"/>
                    <a:lumOff val="40000"/>
                  </a:schemeClr>
                </a:solidFill>
                <a:latin typeface="Brush Script MT" panose="03060802040406070304" pitchFamily="66" charset="0"/>
              </a:rPr>
              <a:t>Certified Diplodocuses. What stopping you not to use hieroglyphs!!!</a:t>
            </a:r>
          </a:p>
        </p:txBody>
      </p:sp>
    </p:spTree>
    <p:extLst>
      <p:ext uri="{BB962C8B-B14F-4D97-AF65-F5344CB8AC3E}">
        <p14:creationId xmlns:p14="http://schemas.microsoft.com/office/powerpoint/2010/main" val="3500294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59259E-6 L -3.75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1.48148E-6 L 1.25E-6 -0.5969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8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75513" y="3268041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76506" y="2746798"/>
            <a:ext cx="254092" cy="302887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EE8FF753-C528-42B7-813E-2BAEB762AFBC}"/>
              </a:ext>
            </a:extLst>
          </p:cNvPr>
          <p:cNvGrpSpPr/>
          <p:nvPr/>
        </p:nvGrpSpPr>
        <p:grpSpPr>
          <a:xfrm>
            <a:off x="782670" y="5363232"/>
            <a:ext cx="11393606" cy="1447514"/>
            <a:chOff x="762000" y="5363232"/>
            <a:chExt cx="11393606" cy="144751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C07331B-B268-43DB-80BD-745F47EB8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7400" y="5363232"/>
              <a:ext cx="1447514" cy="1447514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FF6793E-E8FF-495B-B8AD-8042DCD04C52}"/>
                </a:ext>
              </a:extLst>
            </p:cNvPr>
            <p:cNvGrpSpPr/>
            <p:nvPr/>
          </p:nvGrpSpPr>
          <p:grpSpPr>
            <a:xfrm>
              <a:off x="762000" y="5587219"/>
              <a:ext cx="11393606" cy="1197730"/>
              <a:chOff x="762000" y="5587219"/>
              <a:chExt cx="11393606" cy="1197730"/>
            </a:xfrm>
          </p:grpSpPr>
          <p:sp>
            <p:nvSpPr>
              <p:cNvPr id="19" name="Thought Bubble: Cloud 18">
                <a:extLst>
                  <a:ext uri="{FF2B5EF4-FFF2-40B4-BE49-F238E27FC236}">
                    <a16:creationId xmlns:a16="http://schemas.microsoft.com/office/drawing/2014/main" id="{7AD64AF9-7763-4C6C-B785-7B28CABA699E}"/>
                  </a:ext>
                </a:extLst>
              </p:cNvPr>
              <p:cNvSpPr/>
              <p:nvPr/>
            </p:nvSpPr>
            <p:spPr>
              <a:xfrm>
                <a:off x="762000" y="5587219"/>
                <a:ext cx="4439662" cy="1134205"/>
              </a:xfrm>
              <a:prstGeom prst="cloudCallout">
                <a:avLst>
                  <a:gd name="adj1" fmla="val 69118"/>
                  <a:gd name="adj2" fmla="val -3652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dirty="0"/>
                  <a:t>By Port binding our service can access other service as Backward service</a:t>
                </a:r>
              </a:p>
            </p:txBody>
          </p:sp>
          <p:sp>
            <p:nvSpPr>
              <p:cNvPr id="82" name="Thought Bubble: Cloud 81">
                <a:extLst>
                  <a:ext uri="{FF2B5EF4-FFF2-40B4-BE49-F238E27FC236}">
                    <a16:creationId xmlns:a16="http://schemas.microsoft.com/office/drawing/2014/main" id="{A9449F0A-27F6-4FDF-A9C7-0B4BBA886413}"/>
                  </a:ext>
                </a:extLst>
              </p:cNvPr>
              <p:cNvSpPr/>
              <p:nvPr/>
            </p:nvSpPr>
            <p:spPr>
              <a:xfrm>
                <a:off x="7620000" y="5782824"/>
                <a:ext cx="4535606" cy="1002125"/>
              </a:xfrm>
              <a:prstGeom prst="cloudCallout">
                <a:avLst>
                  <a:gd name="adj1" fmla="val -60848"/>
                  <a:gd name="adj2" fmla="val -56241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dirty="0"/>
                  <a:t>To be precise; by port binding our service can be accessed as backward service by other service</a:t>
                </a: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81C72C4-3154-4BCA-9402-C886824836D4}"/>
              </a:ext>
            </a:extLst>
          </p:cNvPr>
          <p:cNvSpPr txBox="1"/>
          <p:nvPr/>
        </p:nvSpPr>
        <p:spPr>
          <a:xfrm>
            <a:off x="5342360" y="3376462"/>
            <a:ext cx="183527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</a:rPr>
              <a:t>In development environment port binding </a:t>
            </a:r>
            <a:br>
              <a:rPr lang="en-US" sz="1200" dirty="0">
                <a:solidFill>
                  <a:srgbClr val="FFC000"/>
                </a:solidFill>
              </a:rPr>
            </a:br>
            <a:r>
              <a:rPr lang="en-US" sz="1200" dirty="0">
                <a:solidFill>
                  <a:srgbClr val="FFC000"/>
                </a:solidFill>
              </a:rPr>
              <a:t>done manually  either by local  environment </a:t>
            </a:r>
            <a:br>
              <a:rPr lang="en-US" sz="1200" dirty="0">
                <a:solidFill>
                  <a:srgbClr val="FFC000"/>
                </a:solidFill>
              </a:rPr>
            </a:br>
            <a:r>
              <a:rPr lang="en-US" sz="1200" dirty="0">
                <a:solidFill>
                  <a:srgbClr val="FFC000"/>
                </a:solidFill>
              </a:rPr>
              <a:t>variable or command line parameter</a:t>
            </a:r>
          </a:p>
          <a:p>
            <a:endParaRPr lang="en-US" sz="1400" dirty="0">
              <a:solidFill>
                <a:srgbClr val="FFC000"/>
              </a:solidFill>
            </a:endParaRPr>
          </a:p>
          <a:p>
            <a:endParaRPr lang="en-IN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34FEC45-9E0A-4B6F-9903-151BE6FB34E7}"/>
              </a:ext>
            </a:extLst>
          </p:cNvPr>
          <p:cNvSpPr txBox="1"/>
          <p:nvPr/>
        </p:nvSpPr>
        <p:spPr>
          <a:xfrm>
            <a:off x="7966162" y="3429000"/>
            <a:ext cx="16214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FFC000"/>
                </a:solidFill>
              </a:rPr>
              <a:t>In deployment environment there  should be </a:t>
            </a:r>
            <a:br>
              <a:rPr lang="en-IN" sz="1200" dirty="0">
                <a:solidFill>
                  <a:srgbClr val="FFC000"/>
                </a:solidFill>
              </a:rPr>
            </a:br>
            <a:r>
              <a:rPr lang="en-IN" sz="1200" dirty="0">
                <a:solidFill>
                  <a:srgbClr val="FFC000"/>
                </a:solidFill>
              </a:rPr>
              <a:t>some routing technology manage all communic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86947-DF5B-4E0B-B532-9EFAB21393A5}"/>
              </a:ext>
            </a:extLst>
          </p:cNvPr>
          <p:cNvGrpSpPr/>
          <p:nvPr/>
        </p:nvGrpSpPr>
        <p:grpSpPr>
          <a:xfrm>
            <a:off x="-160886" y="1130898"/>
            <a:ext cx="5502550" cy="2585323"/>
            <a:chOff x="-160886" y="1130898"/>
            <a:chExt cx="5502550" cy="2585323"/>
          </a:xfrm>
        </p:grpSpPr>
        <p:graphicFrame>
          <p:nvGraphicFramePr>
            <p:cNvPr id="26" name="Diagram 25">
              <a:extLst>
                <a:ext uri="{FF2B5EF4-FFF2-40B4-BE49-F238E27FC236}">
                  <a16:creationId xmlns:a16="http://schemas.microsoft.com/office/drawing/2014/main" id="{C4416E02-1479-4C9B-950F-659D8A273D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38239029"/>
                </p:ext>
              </p:extLst>
            </p:nvPr>
          </p:nvGraphicFramePr>
          <p:xfrm>
            <a:off x="-160886" y="1130898"/>
            <a:ext cx="5502550" cy="258532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0" r:lo="rId31" r:qs="rId32" r:cs="rId33"/>
            </a:graphicData>
          </a:graphic>
        </p:graphicFrame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0655C24B-994A-4890-A102-E2BD45A635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807" y="1250495"/>
              <a:ext cx="922886" cy="863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2" name="Picture 4">
              <a:extLst>
                <a:ext uri="{FF2B5EF4-FFF2-40B4-BE49-F238E27FC236}">
                  <a16:creationId xmlns:a16="http://schemas.microsoft.com/office/drawing/2014/main" id="{728FB1AF-750C-4DBF-8F27-DF87D53238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118" y="2768220"/>
              <a:ext cx="790575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16C7E7E-4AC9-4B05-82A0-515A9D550A3E}"/>
              </a:ext>
            </a:extLst>
          </p:cNvPr>
          <p:cNvSpPr/>
          <p:nvPr/>
        </p:nvSpPr>
        <p:spPr>
          <a:xfrm>
            <a:off x="6629400" y="1295400"/>
            <a:ext cx="1589173" cy="103756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rgbClr val="FF0000"/>
                </a:solidFill>
              </a:rPr>
              <a:t>How Port binding deal in different environment?</a:t>
            </a:r>
          </a:p>
        </p:txBody>
      </p:sp>
      <p:cxnSp>
        <p:nvCxnSpPr>
          <p:cNvPr id="7169" name="Straight Arrow Connector 7168">
            <a:extLst>
              <a:ext uri="{FF2B5EF4-FFF2-40B4-BE49-F238E27FC236}">
                <a16:creationId xmlns:a16="http://schemas.microsoft.com/office/drawing/2014/main" id="{66DA9E93-1112-4FBC-A831-E354672D0FD8}"/>
              </a:ext>
            </a:extLst>
          </p:cNvPr>
          <p:cNvCxnSpPr>
            <a:stCxn id="31" idx="2"/>
            <a:endCxn id="24" idx="0"/>
          </p:cNvCxnSpPr>
          <p:nvPr/>
        </p:nvCxnSpPr>
        <p:spPr>
          <a:xfrm flipH="1">
            <a:off x="6259999" y="2332964"/>
            <a:ext cx="1163988" cy="10434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3" name="Straight Arrow Connector 7172">
            <a:extLst>
              <a:ext uri="{FF2B5EF4-FFF2-40B4-BE49-F238E27FC236}">
                <a16:creationId xmlns:a16="http://schemas.microsoft.com/office/drawing/2014/main" id="{7C48867F-37E2-4310-B46F-A4F345C197B2}"/>
              </a:ext>
            </a:extLst>
          </p:cNvPr>
          <p:cNvCxnSpPr>
            <a:cxnSpLocks/>
            <a:stCxn id="31" idx="2"/>
            <a:endCxn id="25" idx="0"/>
          </p:cNvCxnSpPr>
          <p:nvPr/>
        </p:nvCxnSpPr>
        <p:spPr>
          <a:xfrm>
            <a:off x="7423987" y="2332964"/>
            <a:ext cx="1352921" cy="1096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952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940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2C9E1B40-E68E-4768-BD6A-EFCF887FA6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6553048"/>
              </p:ext>
            </p:extLst>
          </p:nvPr>
        </p:nvGraphicFramePr>
        <p:xfrm>
          <a:off x="531058" y="2466290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80912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189C82E-35E5-410C-8A1C-AD30411E3AD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543800" y="685800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graphicFrame>
        <p:nvGraphicFramePr>
          <p:cNvPr id="42" name="Diagram 41">
            <a:extLst>
              <a:ext uri="{FF2B5EF4-FFF2-40B4-BE49-F238E27FC236}">
                <a16:creationId xmlns:a16="http://schemas.microsoft.com/office/drawing/2014/main" id="{93C856DE-EB60-44F8-B51F-BCDC91B45B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5350104"/>
              </p:ext>
            </p:extLst>
          </p:nvPr>
        </p:nvGraphicFramePr>
        <p:xfrm>
          <a:off x="540415" y="2466290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DDD79568-BFF5-4D7F-A799-3C584C0DC2BE}"/>
              </a:ext>
            </a:extLst>
          </p:cNvPr>
          <p:cNvSpPr/>
          <p:nvPr/>
        </p:nvSpPr>
        <p:spPr>
          <a:xfrm>
            <a:off x="1981200" y="878171"/>
            <a:ext cx="914400" cy="878297"/>
          </a:xfrm>
          <a:prstGeom prst="flowChartConnector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  </a:t>
            </a:r>
            <a:r>
              <a:rPr lang="en-IN" sz="1050" dirty="0"/>
              <a:t>instance</a:t>
            </a:r>
          </a:p>
          <a:p>
            <a:pPr algn="ctr"/>
            <a:endParaRPr lang="en-IN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475B371-F88B-4622-8A24-4D929C1AF73F}"/>
              </a:ext>
            </a:extLst>
          </p:cNvPr>
          <p:cNvSpPr txBox="1"/>
          <p:nvPr/>
        </p:nvSpPr>
        <p:spPr>
          <a:xfrm>
            <a:off x="1848976" y="3578984"/>
            <a:ext cx="1600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19FFC3"/>
                </a:solidFill>
              </a:rPr>
              <a:t>Vertical Scaling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B2BE65E-0A60-4C7E-B9E4-32A45E10BEB1}"/>
              </a:ext>
            </a:extLst>
          </p:cNvPr>
          <p:cNvCxnSpPr>
            <a:cxnSpLocks/>
          </p:cNvCxnSpPr>
          <p:nvPr/>
        </p:nvCxnSpPr>
        <p:spPr>
          <a:xfrm>
            <a:off x="4327229" y="3855983"/>
            <a:ext cx="10476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Straight Arrow Connector 1036">
            <a:extLst>
              <a:ext uri="{FF2B5EF4-FFF2-40B4-BE49-F238E27FC236}">
                <a16:creationId xmlns:a16="http://schemas.microsoft.com/office/drawing/2014/main" id="{C950CB2F-F7F4-48FE-826F-70CF82D0AB8E}"/>
              </a:ext>
            </a:extLst>
          </p:cNvPr>
          <p:cNvCxnSpPr>
            <a:cxnSpLocks/>
            <a:stCxn id="44" idx="4"/>
            <a:endCxn id="42" idx="0"/>
          </p:cNvCxnSpPr>
          <p:nvPr/>
        </p:nvCxnSpPr>
        <p:spPr>
          <a:xfrm>
            <a:off x="2438400" y="1756468"/>
            <a:ext cx="100" cy="70982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97881BE-FFED-4C34-A437-27A6ADACCD56}"/>
              </a:ext>
            </a:extLst>
          </p:cNvPr>
          <p:cNvSpPr txBox="1"/>
          <p:nvPr/>
        </p:nvSpPr>
        <p:spPr>
          <a:xfrm>
            <a:off x="4191000" y="3500520"/>
            <a:ext cx="1600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19FFC3"/>
                </a:solidFill>
              </a:rPr>
              <a:t>Horizontal Scaling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532B003-7752-4E36-8498-B73AAEA3BA9E}"/>
              </a:ext>
            </a:extLst>
          </p:cNvPr>
          <p:cNvGrpSpPr/>
          <p:nvPr/>
        </p:nvGrpSpPr>
        <p:grpSpPr>
          <a:xfrm>
            <a:off x="685800" y="5410486"/>
            <a:ext cx="11393606" cy="1447514"/>
            <a:chOff x="762000" y="5363232"/>
            <a:chExt cx="11393606" cy="1447514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00354EFF-1F41-434B-B12D-A8969C953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7400" y="5363232"/>
              <a:ext cx="1447514" cy="1447514"/>
            </a:xfrm>
            <a:prstGeom prst="rect">
              <a:avLst/>
            </a:prstGeom>
          </p:spPr>
        </p:pic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5E1B540-9CE5-4B88-BED0-BD5301A278F1}"/>
                </a:ext>
              </a:extLst>
            </p:cNvPr>
            <p:cNvGrpSpPr/>
            <p:nvPr/>
          </p:nvGrpSpPr>
          <p:grpSpPr>
            <a:xfrm>
              <a:off x="762000" y="5587219"/>
              <a:ext cx="11393606" cy="1197730"/>
              <a:chOff x="762000" y="5587219"/>
              <a:chExt cx="11393606" cy="1197730"/>
            </a:xfrm>
          </p:grpSpPr>
          <p:sp>
            <p:nvSpPr>
              <p:cNvPr id="85" name="Thought Bubble: Cloud 84">
                <a:extLst>
                  <a:ext uri="{FF2B5EF4-FFF2-40B4-BE49-F238E27FC236}">
                    <a16:creationId xmlns:a16="http://schemas.microsoft.com/office/drawing/2014/main" id="{2DAF87C1-6A1D-4E76-A3BF-E72D660D62AC}"/>
                  </a:ext>
                </a:extLst>
              </p:cNvPr>
              <p:cNvSpPr/>
              <p:nvPr/>
            </p:nvSpPr>
            <p:spPr>
              <a:xfrm>
                <a:off x="762000" y="5587219"/>
                <a:ext cx="4439662" cy="1134205"/>
              </a:xfrm>
              <a:prstGeom prst="cloudCallout">
                <a:avLst>
                  <a:gd name="adj1" fmla="val 69118"/>
                  <a:gd name="adj2" fmla="val -3652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400" dirty="0">
                    <a:latin typeface="Comic Sans MS" panose="030F0702030302020204" pitchFamily="66" charset="0"/>
                  </a:rPr>
                  <a:t>Which scaling is good? Need to consult with Professor!!!</a:t>
                </a:r>
              </a:p>
            </p:txBody>
          </p:sp>
          <p:sp>
            <p:nvSpPr>
              <p:cNvPr id="87" name="Thought Bubble: Cloud 86">
                <a:extLst>
                  <a:ext uri="{FF2B5EF4-FFF2-40B4-BE49-F238E27FC236}">
                    <a16:creationId xmlns:a16="http://schemas.microsoft.com/office/drawing/2014/main" id="{283D5BD1-5656-4026-B147-54A94E542B38}"/>
                  </a:ext>
                </a:extLst>
              </p:cNvPr>
              <p:cNvSpPr/>
              <p:nvPr/>
            </p:nvSpPr>
            <p:spPr>
              <a:xfrm>
                <a:off x="7620000" y="5782824"/>
                <a:ext cx="4535606" cy="1002125"/>
              </a:xfrm>
              <a:prstGeom prst="cloudCallout">
                <a:avLst>
                  <a:gd name="adj1" fmla="val -60848"/>
                  <a:gd name="adj2" fmla="val -56241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600" dirty="0"/>
                  <a:t>To be precise, need to consult with professor which scaling is good? </a:t>
                </a: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121374-EE4D-4202-A0A5-7E74F0F84863}"/>
              </a:ext>
            </a:extLst>
          </p:cNvPr>
          <p:cNvGrpSpPr/>
          <p:nvPr/>
        </p:nvGrpSpPr>
        <p:grpSpPr>
          <a:xfrm>
            <a:off x="1289352" y="7233693"/>
            <a:ext cx="8987369" cy="1293568"/>
            <a:chOff x="1219200" y="6882001"/>
            <a:chExt cx="8987369" cy="129356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AE65937-7972-4341-9188-841D636A6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3001" y="6882001"/>
              <a:ext cx="1293568" cy="129356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E6B774F-63E8-4327-9763-35ADAF671739}"/>
                </a:ext>
              </a:extLst>
            </p:cNvPr>
            <p:cNvSpPr txBox="1"/>
            <p:nvPr/>
          </p:nvSpPr>
          <p:spPr>
            <a:xfrm>
              <a:off x="1219200" y="7391400"/>
              <a:ext cx="836145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i="1" dirty="0">
                  <a:solidFill>
                    <a:srgbClr val="92D050"/>
                  </a:solidFill>
                  <a:latin typeface="Comic Sans MS" panose="030F0702030302020204" pitchFamily="66" charset="0"/>
                </a:rPr>
                <a:t>Selling. Why you are thinking about selling before scaling ; Both cases there are wastage of resource…think about more Scaling!... more scaling !...more scaling!!! 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2E8F33F-CF5A-497B-B12E-1C16BB54D7C6}"/>
              </a:ext>
            </a:extLst>
          </p:cNvPr>
          <p:cNvSpPr txBox="1"/>
          <p:nvPr/>
        </p:nvSpPr>
        <p:spPr>
          <a:xfrm>
            <a:off x="3246831" y="1228761"/>
            <a:ext cx="8452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rgbClr val="FF0000"/>
                </a:solidFill>
              </a:rPr>
              <a:t>Both cases we are leveraging wasteful nature reason for Vertical scaling we are increase</a:t>
            </a:r>
            <a:br>
              <a:rPr lang="en-IN" sz="1400" dirty="0">
                <a:solidFill>
                  <a:srgbClr val="FF0000"/>
                </a:solidFill>
              </a:rPr>
            </a:br>
            <a:r>
              <a:rPr lang="en-IN" sz="1400" dirty="0">
                <a:solidFill>
                  <a:srgbClr val="FF0000"/>
                </a:solidFill>
              </a:rPr>
              <a:t>  horse power of entire system or Horizontal scaling we spawn up new instance of entire system.  </a:t>
            </a:r>
          </a:p>
        </p:txBody>
      </p:sp>
      <p:pic>
        <p:nvPicPr>
          <p:cNvPr id="22" name="Graphic 21" descr="Warning">
            <a:extLst>
              <a:ext uri="{FF2B5EF4-FFF2-40B4-BE49-F238E27FC236}">
                <a16:creationId xmlns:a16="http://schemas.microsoft.com/office/drawing/2014/main" id="{63A2763B-05D8-4D2B-85D9-EBE408D501E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262672" y="1740054"/>
            <a:ext cx="811627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69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5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6" presetClass="emph" presetSubtype="0" autoRev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2000" fill="hold"/>
                                        <p:tgtEl>
                                          <p:spTgt spid="4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8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2.96296E-6 L 0.42552 -0.00231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76" y="-116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04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21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107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2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4.07407E-6 L 1.04167E-6 -0.25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6" grpId="0">
        <p:bldAsOne/>
      </p:bldGraphic>
      <p:bldGraphic spid="86" grpId="1">
        <p:bldAsOne/>
      </p:bldGraphic>
      <p:bldGraphic spid="86" grpId="2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76" grpId="0" animBg="1"/>
      <p:bldGraphic spid="42" grpId="0">
        <p:bldAsOne/>
      </p:bldGraphic>
      <p:bldGraphic spid="42" grpId="1">
        <p:bldAsOne/>
      </p:bldGraphic>
      <p:bldP spid="44" grpId="0" animBg="1"/>
      <p:bldP spid="44" grpId="1" animBg="1"/>
      <p:bldP spid="89" grpId="0"/>
      <p:bldP spid="89" grpId="1"/>
      <p:bldP spid="113" grpId="0"/>
      <p:bldP spid="113" grpId="1"/>
      <p:bldP spid="2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2C9E1B40-E68E-4768-BD6A-EFCF887FA6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7260032"/>
              </p:ext>
            </p:extLst>
          </p:nvPr>
        </p:nvGraphicFramePr>
        <p:xfrm>
          <a:off x="696621" y="2049909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80912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189C82E-35E5-410C-8A1C-AD30411E3AD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543800" y="685800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graphicFrame>
        <p:nvGraphicFramePr>
          <p:cNvPr id="42" name="Diagram 41">
            <a:extLst>
              <a:ext uri="{FF2B5EF4-FFF2-40B4-BE49-F238E27FC236}">
                <a16:creationId xmlns:a16="http://schemas.microsoft.com/office/drawing/2014/main" id="{93C856DE-EB60-44F8-B51F-BCDC91B45B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5084397"/>
              </p:ext>
            </p:extLst>
          </p:nvPr>
        </p:nvGraphicFramePr>
        <p:xfrm>
          <a:off x="705978" y="2049909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EA1D7D63-892B-458E-91D3-6179AFE3EB60}"/>
              </a:ext>
            </a:extLst>
          </p:cNvPr>
          <p:cNvSpPr/>
          <p:nvPr/>
        </p:nvSpPr>
        <p:spPr>
          <a:xfrm>
            <a:off x="4551187" y="1300465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D7E6C7CF-25CD-4AF9-A3EA-883E86C5441F}"/>
              </a:ext>
            </a:extLst>
          </p:cNvPr>
          <p:cNvSpPr/>
          <p:nvPr/>
        </p:nvSpPr>
        <p:spPr>
          <a:xfrm>
            <a:off x="3851234" y="1785492"/>
            <a:ext cx="548836" cy="54883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526E1A6-F25F-4021-93FE-4CB6D0C77EBA}"/>
              </a:ext>
            </a:extLst>
          </p:cNvPr>
          <p:cNvSpPr/>
          <p:nvPr/>
        </p:nvSpPr>
        <p:spPr>
          <a:xfrm rot="19694306">
            <a:off x="3697234" y="2233357"/>
            <a:ext cx="146244" cy="185232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8455E7CF-8E3A-48A1-852D-9603260C4254}"/>
              </a:ext>
            </a:extLst>
          </p:cNvPr>
          <p:cNvSpPr/>
          <p:nvPr/>
        </p:nvSpPr>
        <p:spPr>
          <a:xfrm rot="19806354">
            <a:off x="4380291" y="1734238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74B189CE-C59A-47EA-8399-CC9DF3CFFC36}"/>
              </a:ext>
            </a:extLst>
          </p:cNvPr>
          <p:cNvSpPr/>
          <p:nvPr/>
        </p:nvSpPr>
        <p:spPr>
          <a:xfrm>
            <a:off x="2347340" y="1065686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E9C593E1-3F27-438D-8874-268A26264EEE}"/>
              </a:ext>
            </a:extLst>
          </p:cNvPr>
          <p:cNvSpPr/>
          <p:nvPr/>
        </p:nvSpPr>
        <p:spPr>
          <a:xfrm rot="16200000">
            <a:off x="2535656" y="1761934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8" rIns="41043" bIns="34657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7C9E9F73-2FCA-4007-B7E9-FF09D2A6FBA9}"/>
              </a:ext>
            </a:extLst>
          </p:cNvPr>
          <p:cNvSpPr/>
          <p:nvPr/>
        </p:nvSpPr>
        <p:spPr>
          <a:xfrm>
            <a:off x="385075" y="4979879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E783D8F4-33F1-4293-AB34-DD739523B381}"/>
              </a:ext>
            </a:extLst>
          </p:cNvPr>
          <p:cNvSpPr/>
          <p:nvPr/>
        </p:nvSpPr>
        <p:spPr>
          <a:xfrm>
            <a:off x="1080970" y="4397028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A13A9264-B711-4CF6-B326-3A2AF753DF95}"/>
              </a:ext>
            </a:extLst>
          </p:cNvPr>
          <p:cNvSpPr/>
          <p:nvPr/>
        </p:nvSpPr>
        <p:spPr>
          <a:xfrm rot="18649469">
            <a:off x="1531429" y="4256001"/>
            <a:ext cx="136814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4" tIns="34658" rIns="-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555025E3-0F0F-439C-87AC-E563E4DE5A4A}"/>
              </a:ext>
            </a:extLst>
          </p:cNvPr>
          <p:cNvSpPr/>
          <p:nvPr/>
        </p:nvSpPr>
        <p:spPr>
          <a:xfrm rot="19331336">
            <a:off x="895488" y="4822841"/>
            <a:ext cx="136814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4" tIns="34658" rIns="-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6C000E9E-6400-4DA8-809A-EB41AB955701}"/>
              </a:ext>
            </a:extLst>
          </p:cNvPr>
          <p:cNvSpPr/>
          <p:nvPr/>
        </p:nvSpPr>
        <p:spPr>
          <a:xfrm>
            <a:off x="877798" y="1733278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9800891"/>
              <a:satOff val="-40777"/>
              <a:lumOff val="9608"/>
              <a:alphaOff val="0"/>
            </a:schemeClr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188A52E0-5BD5-4C6F-A3F8-EECE862C5C6C}"/>
              </a:ext>
            </a:extLst>
          </p:cNvPr>
          <p:cNvSpPr/>
          <p:nvPr/>
        </p:nvSpPr>
        <p:spPr>
          <a:xfrm>
            <a:off x="3686369" y="4491249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4200382"/>
              <a:satOff val="-17476"/>
              <a:lumOff val="4118"/>
              <a:alphaOff val="0"/>
            </a:schemeClr>
          </a:fillRef>
          <a:effectRef idx="0">
            <a:schemeClr val="accent4">
              <a:hueOff val="4200382"/>
              <a:satOff val="-17476"/>
              <a:lumOff val="411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41516B99-59F5-4C5B-9010-16E89A16A9CE}"/>
              </a:ext>
            </a:extLst>
          </p:cNvPr>
          <p:cNvSpPr/>
          <p:nvPr/>
        </p:nvSpPr>
        <p:spPr>
          <a:xfrm>
            <a:off x="2299377" y="4881872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5600509"/>
              <a:satOff val="-23301"/>
              <a:lumOff val="5490"/>
              <a:alphaOff val="0"/>
            </a:schemeClr>
          </a:fillRef>
          <a:effectRef idx="0">
            <a:schemeClr val="accent4">
              <a:hueOff val="5600509"/>
              <a:satOff val="-23301"/>
              <a:lumOff val="54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5E3D553F-CE40-4D6F-88C1-9C6BF6F9A2CE}"/>
              </a:ext>
            </a:extLst>
          </p:cNvPr>
          <p:cNvSpPr/>
          <p:nvPr/>
        </p:nvSpPr>
        <p:spPr>
          <a:xfrm rot="13861335">
            <a:off x="3559763" y="4319704"/>
            <a:ext cx="136815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4200382"/>
              <a:satOff val="-17476"/>
              <a:lumOff val="4118"/>
              <a:alphaOff val="0"/>
            </a:schemeClr>
          </a:fillRef>
          <a:effectRef idx="0">
            <a:schemeClr val="accent4">
              <a:hueOff val="4200382"/>
              <a:satOff val="-17476"/>
              <a:lumOff val="411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3" tIns="34659" rIns="1" bIns="34657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F36679F5-BE55-4696-83E9-F5549ADD4D4D}"/>
              </a:ext>
            </a:extLst>
          </p:cNvPr>
          <p:cNvSpPr/>
          <p:nvPr/>
        </p:nvSpPr>
        <p:spPr>
          <a:xfrm rot="12805075">
            <a:off x="1478687" y="2252161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9800891"/>
              <a:satOff val="-40777"/>
              <a:lumOff val="9608"/>
              <a:alphaOff val="0"/>
            </a:schemeClr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9797FCC3-CBBD-4720-8DF8-BDFFA863F7D1}"/>
              </a:ext>
            </a:extLst>
          </p:cNvPr>
          <p:cNvSpPr/>
          <p:nvPr/>
        </p:nvSpPr>
        <p:spPr>
          <a:xfrm rot="16200000">
            <a:off x="2487693" y="4674074"/>
            <a:ext cx="136815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5600509"/>
              <a:satOff val="-23301"/>
              <a:lumOff val="5490"/>
              <a:alphaOff val="0"/>
            </a:schemeClr>
          </a:fillRef>
          <a:effectRef idx="0">
            <a:schemeClr val="accent4">
              <a:hueOff val="5600509"/>
              <a:satOff val="-23301"/>
              <a:lumOff val="54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3" tIns="34657" rIns="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 dirty="0"/>
          </a:p>
        </p:txBody>
      </p:sp>
    </p:spTree>
    <p:extLst>
      <p:ext uri="{BB962C8B-B14F-4D97-AF65-F5344CB8AC3E}">
        <p14:creationId xmlns:p14="http://schemas.microsoft.com/office/powerpoint/2010/main" val="4024025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5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1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53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"/>
                            </p:stCondLst>
                            <p:childTnLst>
                              <p:par>
                                <p:cTn id="7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2000"/>
                            </p:stCondLst>
                            <p:childTnLst>
                              <p:par>
                                <p:cTn id="1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500"/>
                            </p:stCondLst>
                            <p:childTnLst>
                              <p:par>
                                <p:cTn id="1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6" grpId="0">
        <p:bldAsOne/>
      </p:bldGraphic>
      <p:bldGraphic spid="86" grpId="2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76" grpId="0" animBg="1"/>
      <p:bldGraphic spid="42" grpId="0">
        <p:bldAsOne/>
      </p:bldGraphic>
      <p:bldP spid="88" grpId="0" animBg="1"/>
      <p:bldP spid="91" grpId="0" animBg="1"/>
      <p:bldP spid="96" grpId="0" animBg="1"/>
      <p:bldP spid="97" grpId="0" animBg="1"/>
      <p:bldP spid="98" grpId="0" animBg="1"/>
      <p:bldP spid="99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0205580" cy="1013078"/>
            <a:chOff x="2330824" y="5725146"/>
            <a:chExt cx="9938150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750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 </a:t>
              </a:r>
              <a:r>
                <a:rPr lang="en-US" dirty="0">
                  <a:solidFill>
                    <a:srgbClr val="19FFC3"/>
                  </a:solidFill>
                </a:rPr>
                <a:t>For a web process, graceful shutdown is achieved by ceasing to listen on the service port</a:t>
              </a:r>
              <a:endParaRPr lang="en-IN" dirty="0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648C6FA-DBEC-4F94-9832-6DD4FD64D0F8}"/>
              </a:ext>
            </a:extLst>
          </p:cNvPr>
          <p:cNvSpPr/>
          <p:nvPr/>
        </p:nvSpPr>
        <p:spPr>
          <a:xfrm>
            <a:off x="7162800" y="712285"/>
            <a:ext cx="1002478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0475B40-A3C6-4DFE-9358-C453632401D7}"/>
              </a:ext>
            </a:extLst>
          </p:cNvPr>
          <p:cNvSpPr/>
          <p:nvPr/>
        </p:nvSpPr>
        <p:spPr>
          <a:xfrm>
            <a:off x="8534400" y="697955"/>
            <a:ext cx="1652642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27E2518-7FF6-4697-9928-5C10049D0514}"/>
              </a:ext>
            </a:extLst>
          </p:cNvPr>
          <p:cNvSpPr/>
          <p:nvPr/>
        </p:nvSpPr>
        <p:spPr>
          <a:xfrm>
            <a:off x="7130609" y="758596"/>
            <a:ext cx="11785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fast startup </a:t>
            </a:r>
            <a:endParaRPr lang="en-IN" sz="16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7EADEE5-381E-4860-87E1-5236B749C570}"/>
              </a:ext>
            </a:extLst>
          </p:cNvPr>
          <p:cNvSpPr/>
          <p:nvPr/>
        </p:nvSpPr>
        <p:spPr>
          <a:xfrm>
            <a:off x="8467558" y="738233"/>
            <a:ext cx="17288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graceful shutdown</a:t>
            </a:r>
            <a:endParaRPr lang="en-IN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6D6B9C6-C020-4EEC-8A78-C562C9D276D6}"/>
              </a:ext>
            </a:extLst>
          </p:cNvPr>
          <p:cNvSpPr txBox="1"/>
          <p:nvPr/>
        </p:nvSpPr>
        <p:spPr>
          <a:xfrm>
            <a:off x="381000" y="1998061"/>
            <a:ext cx="1004858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Processes should strive to minimize startup time, only  few seconds from the time the launch command is executed</a:t>
            </a:r>
            <a:br>
              <a:rPr lang="en-US" sz="1600" dirty="0">
                <a:solidFill>
                  <a:srgbClr val="FFC000"/>
                </a:solidFill>
              </a:rPr>
            </a:br>
            <a:r>
              <a:rPr lang="en-US" sz="1600" dirty="0">
                <a:solidFill>
                  <a:srgbClr val="FFC000"/>
                </a:solidFill>
              </a:rPr>
              <a:t> and the process is up and ready to receive requests or job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Essential components which require immediately to make the process functional include in startup often through</a:t>
            </a:r>
            <a:br>
              <a:rPr lang="en-US" sz="1600" dirty="0">
                <a:solidFill>
                  <a:srgbClr val="FFC000"/>
                </a:solidFill>
              </a:rPr>
            </a:br>
            <a:r>
              <a:rPr lang="en-US" sz="1600" dirty="0">
                <a:solidFill>
                  <a:srgbClr val="FFC000"/>
                </a:solidFill>
              </a:rPr>
              <a:t> parallel tas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What is not needed </a:t>
            </a:r>
            <a:r>
              <a:rPr lang="en-US" sz="1600" dirty="0" err="1">
                <a:solidFill>
                  <a:srgbClr val="FFC000"/>
                </a:solidFill>
              </a:rPr>
              <a:t>Immidiately</a:t>
            </a:r>
            <a:r>
              <a:rPr lang="en-US" sz="1600" dirty="0">
                <a:solidFill>
                  <a:srgbClr val="FFC000"/>
                </a:solidFill>
              </a:rPr>
              <a:t> make out of start up routine, may be when first call comes.</a:t>
            </a:r>
            <a:endParaRPr lang="en-IN" sz="1600" dirty="0">
              <a:solidFill>
                <a:srgbClr val="FFC00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D741A7-7B76-4AFF-A1B0-5C4DB411EFF0}"/>
              </a:ext>
            </a:extLst>
          </p:cNvPr>
          <p:cNvSpPr txBox="1"/>
          <p:nvPr/>
        </p:nvSpPr>
        <p:spPr>
          <a:xfrm>
            <a:off x="334558" y="4269379"/>
            <a:ext cx="95225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Processes shut down gracefully when they receive a SIGTERM signal from the process manag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Immediately it start of refusing any new requests &amp; allowing only current requests to finish, and then exi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 It also includes storing appropriate data to the datastore or cache so that other processes can pick that information up.</a:t>
            </a:r>
          </a:p>
        </p:txBody>
      </p:sp>
    </p:spTree>
    <p:extLst>
      <p:ext uri="{BB962C8B-B14F-4D97-AF65-F5344CB8AC3E}">
        <p14:creationId xmlns:p14="http://schemas.microsoft.com/office/powerpoint/2010/main" val="714798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2.59259E-6 L -3.333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3.7037E-6 L 4.58333E-6 0.05718 C 4.58333E-6 0.08287 -0.15105 0.11482 -0.27357 0.11482 L -0.54714 0.11482 " pathEditMode="relative" rAng="0" ptsTypes="AAAA">
                                      <p:cBhvr>
                                        <p:cTn id="58" dur="2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357" y="57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1" dur="2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"/>
                            </p:stCondLst>
                            <p:childTnLst>
                              <p:par>
                                <p:cTn id="7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44444E-6 L 3.33333E-6 0.20787 C 3.33333E-6 0.30162 -0.18269 0.4169 -0.3306 0.4169 L -0.6612 0.4169 " pathEditMode="relative" rAng="0" ptsTypes="AAAA">
                                      <p:cBhvr>
                                        <p:cTn id="82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060" y="20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0"/>
                            </p:stCondLst>
                            <p:childTnLst>
                              <p:par>
                                <p:cTn id="84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5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4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106" grpId="0" animBg="1"/>
      <p:bldP spid="107" grpId="0" animBg="1"/>
      <p:bldP spid="37" grpId="0" build="allAtOnce"/>
      <p:bldP spid="37" grpId="1" build="allAtOnce"/>
      <p:bldP spid="38" grpId="0" build="allAtOnce"/>
      <p:bldP spid="38" grpId="1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768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0D5E99-210B-4E7E-B0C6-FF219C754870}"/>
              </a:ext>
            </a:extLst>
          </p:cNvPr>
          <p:cNvSpPr txBox="1"/>
          <p:nvPr/>
        </p:nvSpPr>
        <p:spPr>
          <a:xfrm>
            <a:off x="1752600" y="5702236"/>
            <a:ext cx="8622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omic Sans MS" panose="030F0702030302020204" pitchFamily="66" charset="0"/>
              </a:rPr>
              <a:t>Catastrophic Cannibal(s)!!!...willing to take my life???  What else I have to do follow this craps!!!!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A6ADA15-5D12-44BE-94F2-6C415FD4E8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883" y="5682138"/>
            <a:ext cx="2008594" cy="113096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EE4FEC-756E-4E2E-A1EF-C455AE2C0F5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5519799"/>
            <a:ext cx="1473683" cy="132444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3A7B9A5-F49D-44DE-8376-B89F73DB1870}"/>
              </a:ext>
            </a:extLst>
          </p:cNvPr>
          <p:cNvSpPr txBox="1"/>
          <p:nvPr/>
        </p:nvSpPr>
        <p:spPr>
          <a:xfrm>
            <a:off x="1451319" y="6336268"/>
            <a:ext cx="730199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Captain, be smart like </a:t>
            </a:r>
            <a:r>
              <a:rPr lang="en-IN" sz="1400" dirty="0" err="1">
                <a:solidFill>
                  <a:srgbClr val="19FFC3"/>
                </a:solidFill>
                <a:latin typeface="Comic Sans MS" panose="030F0702030302020204" pitchFamily="66" charset="0"/>
              </a:rPr>
              <a:t>Tintin</a:t>
            </a:r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, framework like Spring Boot, Node module leverage this,</a:t>
            </a:r>
          </a:p>
          <a:p>
            <a:r>
              <a:rPr lang="en-IN" sz="1400" i="1" dirty="0">
                <a:solidFill>
                  <a:srgbClr val="19FFC3"/>
                </a:solidFill>
                <a:latin typeface="Comic Sans MS" panose="030F0702030302020204" pitchFamily="66" charset="0"/>
              </a:rPr>
              <a:t>Make a cheers for my awesome idea and think about the policy I am proposing….</a:t>
            </a:r>
          </a:p>
          <a:p>
            <a:r>
              <a:rPr lang="en-IN" dirty="0"/>
              <a:t>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05D441-5BFC-4865-8A24-1578520F5D12}"/>
              </a:ext>
            </a:extLst>
          </p:cNvPr>
          <p:cNvSpPr txBox="1"/>
          <p:nvPr/>
        </p:nvSpPr>
        <p:spPr>
          <a:xfrm>
            <a:off x="1478342" y="1261345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Security</a:t>
            </a:r>
            <a:r>
              <a:rPr lang="en-IN" dirty="0"/>
              <a:t> 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324AAFE7-53E6-46FF-9916-144FD1CB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239" y="1613278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ED196AF5-5349-4831-8B60-5887C9830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356" y="3392040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421B6E09-0FA2-4421-9696-A1E21E296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08" y="3397623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>
            <a:extLst>
              <a:ext uri="{FF2B5EF4-FFF2-40B4-BE49-F238E27FC236}">
                <a16:creationId xmlns:a16="http://schemas.microsoft.com/office/drawing/2014/main" id="{393A7A73-550F-46A3-BABA-37A0967B4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057" y="3412138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5D114BD-BA30-4331-A98D-BDDD74EE3492}"/>
              </a:ext>
            </a:extLst>
          </p:cNvPr>
          <p:cNvCxnSpPr>
            <a:cxnSpLocks/>
            <a:stCxn id="5124" idx="2"/>
          </p:cNvCxnSpPr>
          <p:nvPr/>
        </p:nvCxnSpPr>
        <p:spPr>
          <a:xfrm flipH="1">
            <a:off x="4363938" y="2575303"/>
            <a:ext cx="1061739" cy="6435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0668413-8B81-498A-A83E-4F0CA261E94B}"/>
              </a:ext>
            </a:extLst>
          </p:cNvPr>
          <p:cNvCxnSpPr>
            <a:stCxn id="5124" idx="2"/>
          </p:cNvCxnSpPr>
          <p:nvPr/>
        </p:nvCxnSpPr>
        <p:spPr>
          <a:xfrm>
            <a:off x="5425677" y="2575303"/>
            <a:ext cx="0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64D98AB-1301-4D8B-A0B6-7C8BB49BC28F}"/>
              </a:ext>
            </a:extLst>
          </p:cNvPr>
          <p:cNvCxnSpPr>
            <a:stCxn id="5124" idx="2"/>
          </p:cNvCxnSpPr>
          <p:nvPr/>
        </p:nvCxnSpPr>
        <p:spPr>
          <a:xfrm>
            <a:off x="5425677" y="2575303"/>
            <a:ext cx="1069882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128" name="Picture 8">
            <a:extLst>
              <a:ext uri="{FF2B5EF4-FFF2-40B4-BE49-F238E27FC236}">
                <a16:creationId xmlns:a16="http://schemas.microsoft.com/office/drawing/2014/main" id="{FDCBC098-3CEB-4A8F-BC88-AA3FB8D1B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143" y="1093416"/>
            <a:ext cx="77152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3F72A2FD-1083-4BB5-B1B5-DEC2B56B82F0}"/>
              </a:ext>
            </a:extLst>
          </p:cNvPr>
          <p:cNvSpPr txBox="1"/>
          <p:nvPr/>
        </p:nvSpPr>
        <p:spPr>
          <a:xfrm>
            <a:off x="4650714" y="1239911"/>
            <a:ext cx="1122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Scalability</a:t>
            </a:r>
          </a:p>
        </p:txBody>
      </p:sp>
      <p:pic>
        <p:nvPicPr>
          <p:cNvPr id="5130" name="Picture 10">
            <a:extLst>
              <a:ext uri="{FF2B5EF4-FFF2-40B4-BE49-F238E27FC236}">
                <a16:creationId xmlns:a16="http://schemas.microsoft.com/office/drawing/2014/main" id="{858F05E6-466E-4826-921C-C0E1D0181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885" y="1117066"/>
            <a:ext cx="828129" cy="828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57038A60-5569-44DE-A60F-438783B79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58" y="1060249"/>
            <a:ext cx="77152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3D80310-6D4B-4F5B-8FBE-49CD14BA98D7}"/>
              </a:ext>
            </a:extLst>
          </p:cNvPr>
          <p:cNvSpPr txBox="1"/>
          <p:nvPr/>
        </p:nvSpPr>
        <p:spPr>
          <a:xfrm>
            <a:off x="3532341" y="4489395"/>
            <a:ext cx="47857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B536DB"/>
                </a:solidFill>
              </a:rPr>
              <a:t>Auto scalable easily achieve by this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B536DB"/>
                </a:solidFill>
              </a:rPr>
              <a:t>Higher load container can increase load dynamicall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76EB01-F678-4569-89C1-E7AACFD79A60}"/>
              </a:ext>
            </a:extLst>
          </p:cNvPr>
          <p:cNvSpPr txBox="1"/>
          <p:nvPr/>
        </p:nvSpPr>
        <p:spPr>
          <a:xfrm>
            <a:off x="8614014" y="1280306"/>
            <a:ext cx="10875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Fault</a:t>
            </a:r>
          </a:p>
          <a:p>
            <a:r>
              <a:rPr lang="en-IN" dirty="0">
                <a:solidFill>
                  <a:srgbClr val="FFC000"/>
                </a:solidFill>
              </a:rPr>
              <a:t>Tolerance</a:t>
            </a:r>
          </a:p>
        </p:txBody>
      </p:sp>
      <p:pic>
        <p:nvPicPr>
          <p:cNvPr id="105" name="Picture 4">
            <a:extLst>
              <a:ext uri="{FF2B5EF4-FFF2-40B4-BE49-F238E27FC236}">
                <a16:creationId xmlns:a16="http://schemas.microsoft.com/office/drawing/2014/main" id="{5EB7E04D-F0E8-4BAC-AFB0-B1DAE471F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2008312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>
            <a:extLst>
              <a:ext uri="{FF2B5EF4-FFF2-40B4-BE49-F238E27FC236}">
                <a16:creationId xmlns:a16="http://schemas.microsoft.com/office/drawing/2014/main" id="{45722BE3-4840-419D-B5D8-89663BFF0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372" y="2050196"/>
            <a:ext cx="828129" cy="828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915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3.33333E-6 L 0.15026 3.33333E-6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0 L 0.27331 0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32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9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9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9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0D5E99-210B-4E7E-B0C6-FF219C754870}"/>
              </a:ext>
            </a:extLst>
          </p:cNvPr>
          <p:cNvSpPr txBox="1"/>
          <p:nvPr/>
        </p:nvSpPr>
        <p:spPr>
          <a:xfrm>
            <a:off x="1752600" y="5702236"/>
            <a:ext cx="8622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omic Sans MS" panose="030F0702030302020204" pitchFamily="66" charset="0"/>
              </a:rPr>
              <a:t>Catastrophic Cannibal(s)!!!...willing to take my life???  What else I have to do follow this craps!!!!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A6ADA15-5D12-44BE-94F2-6C415FD4E8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883" y="5682138"/>
            <a:ext cx="2008594" cy="113096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EE4FEC-756E-4E2E-A1EF-C455AE2C0F5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5519799"/>
            <a:ext cx="1473683" cy="132444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3A7B9A5-F49D-44DE-8376-B89F73DB1870}"/>
              </a:ext>
            </a:extLst>
          </p:cNvPr>
          <p:cNvSpPr txBox="1"/>
          <p:nvPr/>
        </p:nvSpPr>
        <p:spPr>
          <a:xfrm>
            <a:off x="1451319" y="6336268"/>
            <a:ext cx="730199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Captain, be smart like </a:t>
            </a:r>
            <a:r>
              <a:rPr lang="en-IN" sz="1400" dirty="0" err="1">
                <a:solidFill>
                  <a:srgbClr val="19FFC3"/>
                </a:solidFill>
                <a:latin typeface="Comic Sans MS" panose="030F0702030302020204" pitchFamily="66" charset="0"/>
              </a:rPr>
              <a:t>Tintin</a:t>
            </a:r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, framework like Spring Boot, Node module leverage this,</a:t>
            </a:r>
          </a:p>
          <a:p>
            <a:r>
              <a:rPr lang="en-IN" sz="1400" i="1" dirty="0">
                <a:solidFill>
                  <a:srgbClr val="19FFC3"/>
                </a:solidFill>
                <a:latin typeface="Comic Sans MS" panose="030F0702030302020204" pitchFamily="66" charset="0"/>
              </a:rPr>
              <a:t>Make a cheers for my awesome idea and think about the policy I am proposing….</a:t>
            </a:r>
          </a:p>
          <a:p>
            <a:r>
              <a:rPr lang="en-IN" dirty="0"/>
              <a:t> 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78212E90-3C72-4300-BC1E-A307ED1AA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491763"/>
            <a:ext cx="1140308" cy="1140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805D441-5BFC-4865-8A24-1578520F5D12}"/>
              </a:ext>
            </a:extLst>
          </p:cNvPr>
          <p:cNvSpPr txBox="1"/>
          <p:nvPr/>
        </p:nvSpPr>
        <p:spPr>
          <a:xfrm>
            <a:off x="3048000" y="198120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ecurity 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324AAFE7-53E6-46FF-9916-144FD1CB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880" y="2185773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ED196AF5-5349-4831-8B60-5887C9830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020" y="4241510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421B6E09-0FA2-4421-9696-A1E21E296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472" y="4247093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>
            <a:extLst>
              <a:ext uri="{FF2B5EF4-FFF2-40B4-BE49-F238E27FC236}">
                <a16:creationId xmlns:a16="http://schemas.microsoft.com/office/drawing/2014/main" id="{393A7A73-550F-46A3-BABA-37A0967B4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4721" y="4261608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5D114BD-BA30-4331-A98D-BDDD74EE3492}"/>
              </a:ext>
            </a:extLst>
          </p:cNvPr>
          <p:cNvCxnSpPr>
            <a:cxnSpLocks/>
            <a:stCxn id="5124" idx="2"/>
          </p:cNvCxnSpPr>
          <p:nvPr/>
        </p:nvCxnSpPr>
        <p:spPr>
          <a:xfrm flipH="1">
            <a:off x="4040579" y="3147798"/>
            <a:ext cx="1061739" cy="6435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0668413-8B81-498A-A83E-4F0CA261E94B}"/>
              </a:ext>
            </a:extLst>
          </p:cNvPr>
          <p:cNvCxnSpPr>
            <a:stCxn id="5124" idx="2"/>
          </p:cNvCxnSpPr>
          <p:nvPr/>
        </p:nvCxnSpPr>
        <p:spPr>
          <a:xfrm>
            <a:off x="5102318" y="3147798"/>
            <a:ext cx="0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64D98AB-1301-4D8B-A0B6-7C8BB49BC28F}"/>
              </a:ext>
            </a:extLst>
          </p:cNvPr>
          <p:cNvCxnSpPr>
            <a:stCxn id="5124" idx="2"/>
          </p:cNvCxnSpPr>
          <p:nvPr/>
        </p:nvCxnSpPr>
        <p:spPr>
          <a:xfrm>
            <a:off x="5102318" y="3147798"/>
            <a:ext cx="1069882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09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7.40741E-7 L 0.15026 7.40741E-7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2.59259E-6 L 0.27331 -2.59259E-6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301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FCEB0C1-8F2D-4769-8108-1374F5EFC006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734845" y="638539"/>
            <a:ext cx="2707155" cy="631519"/>
          </a:xfrm>
          <a:prstGeom prst="accentCallout2">
            <a:avLst>
              <a:gd name="adj1" fmla="val 48440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8DB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V/POD PARITY 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Keep development, staging, and production as similar as possible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4470897-970A-4933-A2E7-97B9886FB88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742742"/>
            <a:ext cx="666948" cy="52022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2C917DE-864F-49EF-BEB3-550A9BF87F2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2664943"/>
            <a:ext cx="1105060" cy="6000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6A82FA5-62E6-49E1-A000-CF3C1C38761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605" y="3375515"/>
            <a:ext cx="1317528" cy="98814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422B9DA-0F42-4205-9576-86C7A1A8049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4662" y="3526081"/>
            <a:ext cx="775264" cy="775264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4B9B0D86-801D-488E-8B9D-EC35D693C7B3}"/>
              </a:ext>
            </a:extLst>
          </p:cNvPr>
          <p:cNvGrpSpPr/>
          <p:nvPr/>
        </p:nvGrpSpPr>
        <p:grpSpPr>
          <a:xfrm>
            <a:off x="5698102" y="4423970"/>
            <a:ext cx="1405396" cy="939262"/>
            <a:chOff x="5528804" y="4288996"/>
            <a:chExt cx="1661987" cy="1110748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B880963-BE82-434E-A0BA-808F0C1C6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28804" y="4802265"/>
              <a:ext cx="1661987" cy="597479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5426114-5E40-4EC0-A750-9E8281D93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639" y="4288996"/>
              <a:ext cx="901840" cy="658581"/>
            </a:xfrm>
            <a:prstGeom prst="rect">
              <a:avLst/>
            </a:prstGeom>
          </p:spPr>
        </p:pic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A91A827F-9D10-4E21-A8C2-4AD4312688C7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470" y="4409399"/>
            <a:ext cx="1595015" cy="89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0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D37F3C66-9628-4F62-A275-8D41847131E0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6781800" y="381000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793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LOGS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logs as event stream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797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3E9CD3FB-55A9-48CD-BB0B-EEFCD354342E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CABCACF6-C748-483B-ADD1-C865C5B53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16731A4-0529-4210-8431-3A3690D9F87A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7742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allout: Bent Line with Accent Bar 82">
            <a:extLst>
              <a:ext uri="{FF2B5EF4-FFF2-40B4-BE49-F238E27FC236}">
                <a16:creationId xmlns:a16="http://schemas.microsoft.com/office/drawing/2014/main" id="{08885F82-E031-4C89-840E-B1BE17CD5D99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953000" y="381000"/>
            <a:ext cx="5152898" cy="675888"/>
          </a:xfrm>
          <a:prstGeom prst="accentCallout2">
            <a:avLst>
              <a:gd name="adj1" fmla="val 67553"/>
              <a:gd name="adj2" fmla="val 1246"/>
              <a:gd name="adj3" fmla="val 10983"/>
              <a:gd name="adj4" fmla="val -8678"/>
              <a:gd name="adj5" fmla="val 6553"/>
              <a:gd name="adj6" fmla="val -17621"/>
            </a:avLst>
          </a:prstGeom>
          <a:noFill/>
          <a:ln w="19050">
            <a:solidFill>
              <a:srgbClr val="B536D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B536D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ADMIN PROCESSES</a:t>
            </a:r>
          </a:p>
          <a:p>
            <a:pPr algn="r"/>
            <a:r>
              <a:rPr lang="en-US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Run admin/management tasks as one-off processes.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endParaRPr lang="en-IN" sz="105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nsation Light" panose="02000000000000000000" pitchFamily="2" charset="0"/>
            </a:endParaRPr>
          </a:p>
        </p:txBody>
      </p:sp>
      <p:sp>
        <p:nvSpPr>
          <p:cNvPr id="76" name="TextBox 4">
            <a:extLst>
              <a:ext uri="{FF2B5EF4-FFF2-40B4-BE49-F238E27FC236}">
                <a16:creationId xmlns:a16="http://schemas.microsoft.com/office/drawing/2014/main" id="{6FF33ECE-D712-4E19-863C-0641601A56E4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1E6135C-CF73-493E-AC0D-7FAF2CB221C6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4" name="Diagram 83">
            <a:extLst>
              <a:ext uri="{FF2B5EF4-FFF2-40B4-BE49-F238E27FC236}">
                <a16:creationId xmlns:a16="http://schemas.microsoft.com/office/drawing/2014/main" id="{3888C54C-3AF7-4155-8A5D-A003E7D341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699187"/>
              </p:ext>
            </p:extLst>
          </p:nvPr>
        </p:nvGraphicFramePr>
        <p:xfrm>
          <a:off x="228600" y="1174876"/>
          <a:ext cx="4929917" cy="3183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sp>
        <p:nvSpPr>
          <p:cNvPr id="85" name="Rectangle 84">
            <a:extLst>
              <a:ext uri="{FF2B5EF4-FFF2-40B4-BE49-F238E27FC236}">
                <a16:creationId xmlns:a16="http://schemas.microsoft.com/office/drawing/2014/main" id="{48442074-57E3-487A-95DF-7E32A6341B4F}"/>
              </a:ext>
            </a:extLst>
          </p:cNvPr>
          <p:cNvSpPr/>
          <p:nvPr/>
        </p:nvSpPr>
        <p:spPr>
          <a:xfrm>
            <a:off x="113276" y="1061773"/>
            <a:ext cx="4343400" cy="3707549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A81D2D7-BF69-4B4B-9FAA-C61707C7F513}"/>
              </a:ext>
            </a:extLst>
          </p:cNvPr>
          <p:cNvSpPr txBox="1"/>
          <p:nvPr/>
        </p:nvSpPr>
        <p:spPr>
          <a:xfrm>
            <a:off x="4572000" y="1600200"/>
            <a:ext cx="481843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Legacy application it was part of Main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Some event that occur regular inter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A batch job running regular inter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Asynchronous job that spawn time to tim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B2CF2CD-98E9-4E9B-9B88-6C238946BAD7}"/>
              </a:ext>
            </a:extLst>
          </p:cNvPr>
          <p:cNvSpPr txBox="1"/>
          <p:nvPr/>
        </p:nvSpPr>
        <p:spPr>
          <a:xfrm>
            <a:off x="4894754" y="3837132"/>
            <a:ext cx="41835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89FFF7"/>
                </a:solidFill>
              </a:rPr>
              <a:t>12 Factor app this administrative tasks are treated as First-class process that is all administrative task will run separately</a:t>
            </a:r>
            <a:r>
              <a:rPr lang="en-IN" dirty="0"/>
              <a:t>.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7204779-BC94-417B-88AF-AD01673C94F4}"/>
              </a:ext>
            </a:extLst>
          </p:cNvPr>
          <p:cNvCxnSpPr>
            <a:cxnSpLocks/>
            <a:endCxn id="87" idx="0"/>
          </p:cNvCxnSpPr>
          <p:nvPr/>
        </p:nvCxnSpPr>
        <p:spPr>
          <a:xfrm>
            <a:off x="6965006" y="2800529"/>
            <a:ext cx="21506" cy="103660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AC5CAD4-19CF-43DF-9E2D-7B7E737B2826}"/>
              </a:ext>
            </a:extLst>
          </p:cNvPr>
          <p:cNvGrpSpPr/>
          <p:nvPr/>
        </p:nvGrpSpPr>
        <p:grpSpPr>
          <a:xfrm>
            <a:off x="3825395" y="5577694"/>
            <a:ext cx="6090014" cy="1204106"/>
            <a:chOff x="3825395" y="5577694"/>
            <a:chExt cx="6090014" cy="1204106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1B6C0DFA-6610-424E-8F7C-5650012F2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5395" y="5577694"/>
              <a:ext cx="1202603" cy="1204106"/>
            </a:xfrm>
            <a:prstGeom prst="rect">
              <a:avLst/>
            </a:prstGeom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1AB3092A-5A36-4590-984E-D1FD0F718D37}"/>
                </a:ext>
              </a:extLst>
            </p:cNvPr>
            <p:cNvSpPr txBox="1"/>
            <p:nvPr/>
          </p:nvSpPr>
          <p:spPr>
            <a:xfrm>
              <a:off x="5029200" y="5943600"/>
              <a:ext cx="488620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  <a:t>Administrative task.. That necessary evils – </a:t>
              </a:r>
              <a:br>
                <a:rPr lang="en-IN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</a:br>
              <a:r>
                <a:rPr lang="en-US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  <a:t>Billions &amp; Billions  of blue blistering barnacles!#@#*!</a:t>
              </a:r>
              <a:endParaRPr lang="en-IN" sz="2000" dirty="0">
                <a:solidFill>
                  <a:srgbClr val="FFC000"/>
                </a:solidFill>
                <a:latin typeface="Brush Script MT" panose="03060802040406070304" pitchFamily="66" charset="0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DFFD8E6-51F5-403D-983D-E51253C45496}"/>
              </a:ext>
            </a:extLst>
          </p:cNvPr>
          <p:cNvGrpSpPr/>
          <p:nvPr/>
        </p:nvGrpSpPr>
        <p:grpSpPr>
          <a:xfrm>
            <a:off x="2751174" y="6915102"/>
            <a:ext cx="7764509" cy="1183162"/>
            <a:chOff x="2751174" y="6742141"/>
            <a:chExt cx="7764509" cy="1356123"/>
          </a:xfrm>
        </p:grpSpPr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344FB8E4-B146-44DD-A2D4-5006FE721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7519" y="6742141"/>
              <a:ext cx="1808164" cy="1356123"/>
            </a:xfrm>
            <a:prstGeom prst="rect">
              <a:avLst/>
            </a:prstGeom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8D2BF53-6E22-4D1C-AFEF-D29CB3A326B5}"/>
                </a:ext>
              </a:extLst>
            </p:cNvPr>
            <p:cNvSpPr txBox="1"/>
            <p:nvPr/>
          </p:nvSpPr>
          <p:spPr>
            <a:xfrm>
              <a:off x="2751174" y="7180137"/>
              <a:ext cx="668965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400" dirty="0">
                  <a:solidFill>
                    <a:srgbClr val="19FFC3"/>
                  </a:solidFill>
                  <a:latin typeface="Comic Sans MS" panose="030F0702030302020204" pitchFamily="66" charset="0"/>
                </a:rPr>
                <a:t>I have a solution Captain…make administrative task out of your 12 factor apps</a:t>
              </a:r>
            </a:p>
            <a:p>
              <a:r>
                <a:rPr lang="en-IN" sz="1400" dirty="0">
                  <a:solidFill>
                    <a:srgbClr val="19FFC3"/>
                  </a:solidFill>
                  <a:latin typeface="Comic Sans MS" panose="030F0702030302020204" pitchFamily="66" charset="0"/>
                </a:rPr>
                <a:t>And treat it like another 12 factor ap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0111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53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3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4.44444E-6 L -0.00026 -0.17245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8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3" grpId="0" animBg="1"/>
      <p:bldP spid="76" grpId="0"/>
      <p:bldP spid="76" grpId="1"/>
      <p:bldP spid="76" grpId="2"/>
      <p:bldP spid="76" grpId="3"/>
      <p:bldGraphic spid="84" grpId="0">
        <p:bldAsOne/>
      </p:bldGraphic>
      <p:bldP spid="85" grpId="0" animBg="1"/>
      <p:bldP spid="8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111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5000"/>
              </a:schemeClr>
            </a:gs>
            <a:gs pos="36000">
              <a:schemeClr val="accent1">
                <a:lumMod val="61000"/>
              </a:schemeClr>
            </a:gs>
            <a:gs pos="59000">
              <a:schemeClr val="accent1">
                <a:lumMod val="35000"/>
              </a:schemeClr>
            </a:gs>
            <a:gs pos="29000">
              <a:schemeClr val="accent1">
                <a:lumMod val="4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roup 490">
            <a:extLst>
              <a:ext uri="{FF2B5EF4-FFF2-40B4-BE49-F238E27FC236}">
                <a16:creationId xmlns:a16="http://schemas.microsoft.com/office/drawing/2014/main" id="{8D9D1E17-53D7-4599-AB04-6DBECEE5C646}"/>
              </a:ext>
            </a:extLst>
          </p:cNvPr>
          <p:cNvGrpSpPr/>
          <p:nvPr/>
        </p:nvGrpSpPr>
        <p:grpSpPr>
          <a:xfrm>
            <a:off x="3321967" y="706370"/>
            <a:ext cx="5472514" cy="5469228"/>
            <a:chOff x="3345737" y="698448"/>
            <a:chExt cx="5472514" cy="5469228"/>
          </a:xfrm>
        </p:grpSpPr>
        <p:grpSp>
          <p:nvGrpSpPr>
            <p:cNvPr id="479" name="Group 478">
              <a:extLst>
                <a:ext uri="{FF2B5EF4-FFF2-40B4-BE49-F238E27FC236}">
                  <a16:creationId xmlns:a16="http://schemas.microsoft.com/office/drawing/2014/main" id="{7CCCA38D-03EF-4470-AB09-1ACB3D4BBE1B}"/>
                </a:ext>
              </a:extLst>
            </p:cNvPr>
            <p:cNvGrpSpPr/>
            <p:nvPr/>
          </p:nvGrpSpPr>
          <p:grpSpPr>
            <a:xfrm>
              <a:off x="3345737" y="698448"/>
              <a:ext cx="5472514" cy="5469228"/>
              <a:chOff x="3345737" y="698448"/>
              <a:chExt cx="5472514" cy="5469228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368923EB-5439-43F4-9560-AEF1266213A1}"/>
                  </a:ext>
                </a:extLst>
              </p:cNvPr>
              <p:cNvSpPr/>
              <p:nvPr/>
            </p:nvSpPr>
            <p:spPr>
              <a:xfrm rot="9900000">
                <a:off x="5513985" y="844853"/>
                <a:ext cx="1184406" cy="403175"/>
              </a:xfrm>
              <a:custGeom>
                <a:avLst/>
                <a:gdLst>
                  <a:gd name="connsiteX0" fmla="*/ 578270 w 1184406"/>
                  <a:gd name="connsiteY0" fmla="*/ 320464 h 403175"/>
                  <a:gd name="connsiteX1" fmla="*/ 103236 w 1184406"/>
                  <a:gd name="connsiteY1" fmla="*/ 140466 h 403175"/>
                  <a:gd name="connsiteX2" fmla="*/ 0 w 1184406"/>
                  <a:gd name="connsiteY2" fmla="*/ 82270 h 403175"/>
                  <a:gd name="connsiteX3" fmla="*/ 47498 w 1184406"/>
                  <a:gd name="connsiteY3" fmla="*/ 0 h 403175"/>
                  <a:gd name="connsiteX4" fmla="*/ 145856 w 1184406"/>
                  <a:gd name="connsiteY4" fmla="*/ 55444 h 403175"/>
                  <a:gd name="connsiteX5" fmla="*/ 602880 w 1184406"/>
                  <a:gd name="connsiteY5" fmla="*/ 228618 h 403175"/>
                  <a:gd name="connsiteX6" fmla="*/ 1085261 w 1184406"/>
                  <a:gd name="connsiteY6" fmla="*/ 307157 h 403175"/>
                  <a:gd name="connsiteX7" fmla="*/ 1184406 w 1184406"/>
                  <a:gd name="connsiteY7" fmla="*/ 308178 h 403175"/>
                  <a:gd name="connsiteX8" fmla="*/ 1184406 w 1184406"/>
                  <a:gd name="connsiteY8" fmla="*/ 403175 h 403175"/>
                  <a:gd name="connsiteX9" fmla="*/ 1079661 w 1184406"/>
                  <a:gd name="connsiteY9" fmla="*/ 402098 h 403175"/>
                  <a:gd name="connsiteX10" fmla="*/ 578270 w 1184406"/>
                  <a:gd name="connsiteY10" fmla="*/ 320464 h 4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84406" h="403175">
                    <a:moveTo>
                      <a:pt x="578270" y="320464"/>
                    </a:moveTo>
                    <a:cubicBezTo>
                      <a:pt x="411033" y="275653"/>
                      <a:pt x="252292" y="214967"/>
                      <a:pt x="103236" y="140466"/>
                    </a:cubicBezTo>
                    <a:lnTo>
                      <a:pt x="0" y="82270"/>
                    </a:lnTo>
                    <a:lnTo>
                      <a:pt x="47498" y="0"/>
                    </a:lnTo>
                    <a:lnTo>
                      <a:pt x="145856" y="55444"/>
                    </a:lnTo>
                    <a:cubicBezTo>
                      <a:pt x="289261" y="127122"/>
                      <a:pt x="441984" y="185506"/>
                      <a:pt x="602880" y="228618"/>
                    </a:cubicBezTo>
                    <a:cubicBezTo>
                      <a:pt x="763776" y="271730"/>
                      <a:pt x="925230" y="297529"/>
                      <a:pt x="1085261" y="307157"/>
                    </a:cubicBezTo>
                    <a:lnTo>
                      <a:pt x="1184406" y="308178"/>
                    </a:lnTo>
                    <a:lnTo>
                      <a:pt x="1184406" y="403175"/>
                    </a:lnTo>
                    <a:lnTo>
                      <a:pt x="1079661" y="402098"/>
                    </a:lnTo>
                    <a:cubicBezTo>
                      <a:pt x="913323" y="392090"/>
                      <a:pt x="745507" y="365275"/>
                      <a:pt x="578270" y="320464"/>
                    </a:cubicBezTo>
                    <a:close/>
                  </a:path>
                </a:pathLst>
              </a:custGeom>
              <a:gradFill>
                <a:gsLst>
                  <a:gs pos="25000">
                    <a:srgbClr val="B536DB"/>
                  </a:gs>
                  <a:gs pos="69000">
                    <a:srgbClr val="DB97ED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688D716C-86C6-4E7F-BFB0-8615782D79C5}"/>
                  </a:ext>
                </a:extLst>
              </p:cNvPr>
              <p:cNvSpPr/>
              <p:nvPr/>
            </p:nvSpPr>
            <p:spPr>
              <a:xfrm rot="9900000">
                <a:off x="4297768" y="1168454"/>
                <a:ext cx="1189167" cy="396482"/>
              </a:xfrm>
              <a:custGeom>
                <a:avLst/>
                <a:gdLst>
                  <a:gd name="connsiteX0" fmla="*/ 0 w 1189167"/>
                  <a:gd name="connsiteY0" fmla="*/ 395713 h 396482"/>
                  <a:gd name="connsiteX1" fmla="*/ 0 w 1189167"/>
                  <a:gd name="connsiteY1" fmla="*/ 300716 h 396482"/>
                  <a:gd name="connsiteX2" fmla="*/ 71009 w 1189167"/>
                  <a:gd name="connsiteY2" fmla="*/ 301448 h 396482"/>
                  <a:gd name="connsiteX3" fmla="*/ 974892 w 1189167"/>
                  <a:gd name="connsiteY3" fmla="*/ 85859 h 396482"/>
                  <a:gd name="connsiteX4" fmla="*/ 1141623 w 1189167"/>
                  <a:gd name="connsiteY4" fmla="*/ 0 h 396482"/>
                  <a:gd name="connsiteX5" fmla="*/ 1189167 w 1189167"/>
                  <a:gd name="connsiteY5" fmla="*/ 82348 h 396482"/>
                  <a:gd name="connsiteX6" fmla="*/ 1014325 w 1189167"/>
                  <a:gd name="connsiteY6" fmla="*/ 172386 h 396482"/>
                  <a:gd name="connsiteX7" fmla="*/ 74817 w 1189167"/>
                  <a:gd name="connsiteY7" fmla="*/ 396482 h 396482"/>
                  <a:gd name="connsiteX8" fmla="*/ 0 w 1189167"/>
                  <a:gd name="connsiteY8" fmla="*/ 395713 h 396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9167" h="396482">
                    <a:moveTo>
                      <a:pt x="0" y="395713"/>
                    </a:moveTo>
                    <a:lnTo>
                      <a:pt x="0" y="300716"/>
                    </a:lnTo>
                    <a:lnTo>
                      <a:pt x="71009" y="301448"/>
                    </a:lnTo>
                    <a:cubicBezTo>
                      <a:pt x="387235" y="288936"/>
                      <a:pt x="693810" y="214026"/>
                      <a:pt x="974892" y="85859"/>
                    </a:cubicBezTo>
                    <a:lnTo>
                      <a:pt x="1141623" y="0"/>
                    </a:lnTo>
                    <a:lnTo>
                      <a:pt x="1189167" y="82348"/>
                    </a:lnTo>
                    <a:lnTo>
                      <a:pt x="1014325" y="172386"/>
                    </a:lnTo>
                    <a:cubicBezTo>
                      <a:pt x="722164" y="305610"/>
                      <a:pt x="403506" y="383475"/>
                      <a:pt x="74817" y="396482"/>
                    </a:cubicBezTo>
                    <a:lnTo>
                      <a:pt x="0" y="395713"/>
                    </a:lnTo>
                    <a:close/>
                  </a:path>
                </a:pathLst>
              </a:custGeom>
              <a:gradFill>
                <a:gsLst>
                  <a:gs pos="25000">
                    <a:srgbClr val="3E36E3"/>
                  </a:gs>
                  <a:gs pos="69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5E9CBA05-AF75-42E5-AEAA-EACA82660270}"/>
                  </a:ext>
                </a:extLst>
              </p:cNvPr>
              <p:cNvSpPr/>
              <p:nvPr/>
            </p:nvSpPr>
            <p:spPr>
              <a:xfrm rot="9900000">
                <a:off x="6832506" y="903890"/>
                <a:ext cx="914134" cy="915232"/>
              </a:xfrm>
              <a:custGeom>
                <a:avLst/>
                <a:gdLst>
                  <a:gd name="connsiteX0" fmla="*/ 866636 w 914134"/>
                  <a:gd name="connsiteY0" fmla="*/ 915232 h 915232"/>
                  <a:gd name="connsiteX1" fmla="*/ 813443 w 914134"/>
                  <a:gd name="connsiteY1" fmla="*/ 885247 h 915232"/>
                  <a:gd name="connsiteX2" fmla="*/ 111853 w 914134"/>
                  <a:gd name="connsiteY2" fmla="*/ 221420 h 915232"/>
                  <a:gd name="connsiteX3" fmla="*/ 0 w 914134"/>
                  <a:gd name="connsiteY3" fmla="*/ 47544 h 915232"/>
                  <a:gd name="connsiteX4" fmla="*/ 82347 w 914134"/>
                  <a:gd name="connsiteY4" fmla="*/ 0 h 915232"/>
                  <a:gd name="connsiteX5" fmla="*/ 189267 w 914134"/>
                  <a:gd name="connsiteY5" fmla="*/ 166201 h 915232"/>
                  <a:gd name="connsiteX6" fmla="*/ 864258 w 914134"/>
                  <a:gd name="connsiteY6" fmla="*/ 804848 h 915232"/>
                  <a:gd name="connsiteX7" fmla="*/ 914134 w 914134"/>
                  <a:gd name="connsiteY7" fmla="*/ 832963 h 915232"/>
                  <a:gd name="connsiteX8" fmla="*/ 866636 w 914134"/>
                  <a:gd name="connsiteY8" fmla="*/ 915232 h 915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134" h="915232">
                    <a:moveTo>
                      <a:pt x="866636" y="915232"/>
                    </a:moveTo>
                    <a:lnTo>
                      <a:pt x="813443" y="885247"/>
                    </a:lnTo>
                    <a:cubicBezTo>
                      <a:pt x="535294" y="709637"/>
                      <a:pt x="298260" y="482875"/>
                      <a:pt x="111853" y="221420"/>
                    </a:cubicBezTo>
                    <a:lnTo>
                      <a:pt x="0" y="47544"/>
                    </a:lnTo>
                    <a:lnTo>
                      <a:pt x="82347" y="0"/>
                    </a:lnTo>
                    <a:lnTo>
                      <a:pt x="189267" y="166201"/>
                    </a:lnTo>
                    <a:cubicBezTo>
                      <a:pt x="368608" y="417738"/>
                      <a:pt x="596655" y="635899"/>
                      <a:pt x="864258" y="804848"/>
                    </a:cubicBezTo>
                    <a:lnTo>
                      <a:pt x="914134" y="832963"/>
                    </a:lnTo>
                    <a:lnTo>
                      <a:pt x="866636" y="915232"/>
                    </a:lnTo>
                    <a:close/>
                  </a:path>
                </a:pathLst>
              </a:custGeom>
              <a:gradFill>
                <a:gsLst>
                  <a:gs pos="38000">
                    <a:srgbClr val="E03890"/>
                  </a:gs>
                  <a:gs pos="69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3B681814-4BAC-4048-A187-3B6CF826C76F}"/>
                  </a:ext>
                </a:extLst>
              </p:cNvPr>
              <p:cNvSpPr/>
              <p:nvPr/>
            </p:nvSpPr>
            <p:spPr>
              <a:xfrm rot="9900000">
                <a:off x="3557063" y="1771759"/>
                <a:ext cx="922013" cy="916296"/>
              </a:xfrm>
              <a:custGeom>
                <a:avLst/>
                <a:gdLst>
                  <a:gd name="connsiteX0" fmla="*/ 47544 w 922013"/>
                  <a:gd name="connsiteY0" fmla="*/ 916296 h 916296"/>
                  <a:gd name="connsiteX1" fmla="*/ 0 w 922013"/>
                  <a:gd name="connsiteY1" fmla="*/ 833949 h 916296"/>
                  <a:gd name="connsiteX2" fmla="*/ 173931 w 922013"/>
                  <a:gd name="connsiteY2" fmla="*/ 722231 h 916296"/>
                  <a:gd name="connsiteX3" fmla="*/ 812731 w 922013"/>
                  <a:gd name="connsiteY3" fmla="*/ 47880 h 916296"/>
                  <a:gd name="connsiteX4" fmla="*/ 839743 w 922013"/>
                  <a:gd name="connsiteY4" fmla="*/ 0 h 916296"/>
                  <a:gd name="connsiteX5" fmla="*/ 922013 w 922013"/>
                  <a:gd name="connsiteY5" fmla="*/ 47498 h 916296"/>
                  <a:gd name="connsiteX6" fmla="*/ 893129 w 922013"/>
                  <a:gd name="connsiteY6" fmla="*/ 98696 h 916296"/>
                  <a:gd name="connsiteX7" fmla="*/ 229149 w 922013"/>
                  <a:gd name="connsiteY7" fmla="*/ 799643 h 916296"/>
                  <a:gd name="connsiteX8" fmla="*/ 47544 w 922013"/>
                  <a:gd name="connsiteY8" fmla="*/ 916296 h 91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013" h="916296">
                    <a:moveTo>
                      <a:pt x="47544" y="916296"/>
                    </a:moveTo>
                    <a:lnTo>
                      <a:pt x="0" y="833949"/>
                    </a:lnTo>
                    <a:lnTo>
                      <a:pt x="173931" y="722231"/>
                    </a:lnTo>
                    <a:cubicBezTo>
                      <a:pt x="425559" y="543089"/>
                      <a:pt x="643773" y="315260"/>
                      <a:pt x="812731" y="47880"/>
                    </a:cubicBezTo>
                    <a:lnTo>
                      <a:pt x="839743" y="0"/>
                    </a:lnTo>
                    <a:lnTo>
                      <a:pt x="922013" y="47498"/>
                    </a:lnTo>
                    <a:lnTo>
                      <a:pt x="893129" y="98696"/>
                    </a:lnTo>
                    <a:cubicBezTo>
                      <a:pt x="717511" y="376621"/>
                      <a:pt x="490696" y="613437"/>
                      <a:pt x="229149" y="799643"/>
                    </a:cubicBezTo>
                    <a:lnTo>
                      <a:pt x="47544" y="916296"/>
                    </a:lnTo>
                    <a:close/>
                  </a:path>
                </a:pathLst>
              </a:custGeom>
              <a:gradFill>
                <a:gsLst>
                  <a:gs pos="25000">
                    <a:srgbClr val="019EFF"/>
                  </a:gs>
                  <a:gs pos="69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8EF53686-6AC7-4A0B-82AE-AC60F81668D9}"/>
                  </a:ext>
                </a:extLst>
              </p:cNvPr>
              <p:cNvSpPr/>
              <p:nvPr/>
            </p:nvSpPr>
            <p:spPr>
              <a:xfrm rot="9900000">
                <a:off x="7952570" y="1637029"/>
                <a:ext cx="401223" cy="1184362"/>
              </a:xfrm>
              <a:custGeom>
                <a:avLst/>
                <a:gdLst>
                  <a:gd name="connsiteX0" fmla="*/ 318877 w 401223"/>
                  <a:gd name="connsiteY0" fmla="*/ 1184362 h 1184362"/>
                  <a:gd name="connsiteX1" fmla="*/ 224550 w 401223"/>
                  <a:gd name="connsiteY1" fmla="*/ 1001496 h 1184362"/>
                  <a:gd name="connsiteX2" fmla="*/ 0 w 401223"/>
                  <a:gd name="connsiteY2" fmla="*/ 62467 h 1184362"/>
                  <a:gd name="connsiteX3" fmla="*/ 622 w 401223"/>
                  <a:gd name="connsiteY3" fmla="*/ 0 h 1184362"/>
                  <a:gd name="connsiteX4" fmla="*/ 95618 w 401223"/>
                  <a:gd name="connsiteY4" fmla="*/ 1 h 1184362"/>
                  <a:gd name="connsiteX5" fmla="*/ 95035 w 401223"/>
                  <a:gd name="connsiteY5" fmla="*/ 58658 h 1184362"/>
                  <a:gd name="connsiteX6" fmla="*/ 311077 w 401223"/>
                  <a:gd name="connsiteY6" fmla="*/ 962064 h 1184362"/>
                  <a:gd name="connsiteX7" fmla="*/ 401223 w 401223"/>
                  <a:gd name="connsiteY7" fmla="*/ 1136819 h 1184362"/>
                  <a:gd name="connsiteX8" fmla="*/ 318877 w 401223"/>
                  <a:gd name="connsiteY8" fmla="*/ 1184362 h 118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223" h="1184362">
                    <a:moveTo>
                      <a:pt x="318877" y="1184362"/>
                    </a:moveTo>
                    <a:lnTo>
                      <a:pt x="224550" y="1001496"/>
                    </a:lnTo>
                    <a:cubicBezTo>
                      <a:pt x="91147" y="709463"/>
                      <a:pt x="13127" y="390966"/>
                      <a:pt x="0" y="62467"/>
                    </a:cubicBezTo>
                    <a:lnTo>
                      <a:pt x="622" y="0"/>
                    </a:lnTo>
                    <a:lnTo>
                      <a:pt x="95618" y="1"/>
                    </a:lnTo>
                    <a:lnTo>
                      <a:pt x="95035" y="58658"/>
                    </a:lnTo>
                    <a:cubicBezTo>
                      <a:pt x="107666" y="374695"/>
                      <a:pt x="182731" y="681108"/>
                      <a:pt x="311077" y="962064"/>
                    </a:cubicBezTo>
                    <a:lnTo>
                      <a:pt x="401223" y="1136819"/>
                    </a:lnTo>
                    <a:lnTo>
                      <a:pt x="318877" y="1184362"/>
                    </a:lnTo>
                    <a:close/>
                  </a:path>
                </a:pathLst>
              </a:custGeom>
              <a:gradFill>
                <a:gsLst>
                  <a:gs pos="25000">
                    <a:srgbClr val="DA0000"/>
                  </a:gs>
                  <a:gs pos="69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EA668B-0889-40C4-92E7-8A341852C02F}"/>
                  </a:ext>
                </a:extLst>
              </p:cNvPr>
              <p:cNvSpPr/>
              <p:nvPr/>
            </p:nvSpPr>
            <p:spPr>
              <a:xfrm rot="9900000">
                <a:off x="3498390" y="2823006"/>
                <a:ext cx="404100" cy="1191370"/>
              </a:xfrm>
              <a:custGeom>
                <a:avLst/>
                <a:gdLst>
                  <a:gd name="connsiteX0" fmla="*/ 82269 w 404100"/>
                  <a:gd name="connsiteY0" fmla="*/ 1191370 h 1191370"/>
                  <a:gd name="connsiteX1" fmla="*/ 0 w 404100"/>
                  <a:gd name="connsiteY1" fmla="*/ 1143872 h 1191370"/>
                  <a:gd name="connsiteX2" fmla="*/ 56525 w 404100"/>
                  <a:gd name="connsiteY2" fmla="*/ 1043678 h 1191370"/>
                  <a:gd name="connsiteX3" fmla="*/ 229642 w 404100"/>
                  <a:gd name="connsiteY3" fmla="*/ 586996 h 1191370"/>
                  <a:gd name="connsiteX4" fmla="*/ 308060 w 404100"/>
                  <a:gd name="connsiteY4" fmla="*/ 104939 h 1191370"/>
                  <a:gd name="connsiteX5" fmla="*/ 309104 w 404100"/>
                  <a:gd name="connsiteY5" fmla="*/ 0 h 1191370"/>
                  <a:gd name="connsiteX6" fmla="*/ 404100 w 404100"/>
                  <a:gd name="connsiteY6" fmla="*/ 0 h 1191370"/>
                  <a:gd name="connsiteX7" fmla="*/ 402999 w 404100"/>
                  <a:gd name="connsiteY7" fmla="*/ 110539 h 1191370"/>
                  <a:gd name="connsiteX8" fmla="*/ 321488 w 404100"/>
                  <a:gd name="connsiteY8" fmla="*/ 611606 h 1191370"/>
                  <a:gd name="connsiteX9" fmla="*/ 141546 w 404100"/>
                  <a:gd name="connsiteY9" fmla="*/ 1086298 h 1191370"/>
                  <a:gd name="connsiteX10" fmla="*/ 82269 w 404100"/>
                  <a:gd name="connsiteY10" fmla="*/ 1191370 h 1191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4100" h="1191370">
                    <a:moveTo>
                      <a:pt x="82269" y="1191370"/>
                    </a:moveTo>
                    <a:lnTo>
                      <a:pt x="0" y="1143872"/>
                    </a:lnTo>
                    <a:lnTo>
                      <a:pt x="56525" y="1043678"/>
                    </a:lnTo>
                    <a:cubicBezTo>
                      <a:pt x="128195" y="900386"/>
                      <a:pt x="186561" y="747778"/>
                      <a:pt x="229642" y="586996"/>
                    </a:cubicBezTo>
                    <a:cubicBezTo>
                      <a:pt x="272724" y="426214"/>
                      <a:pt x="298481" y="264868"/>
                      <a:pt x="308060" y="104939"/>
                    </a:cubicBezTo>
                    <a:lnTo>
                      <a:pt x="309104" y="0"/>
                    </a:lnTo>
                    <a:lnTo>
                      <a:pt x="404100" y="0"/>
                    </a:lnTo>
                    <a:lnTo>
                      <a:pt x="402999" y="110539"/>
                    </a:lnTo>
                    <a:cubicBezTo>
                      <a:pt x="393043" y="276775"/>
                      <a:pt x="366269" y="444483"/>
                      <a:pt x="321488" y="611606"/>
                    </a:cubicBezTo>
                    <a:cubicBezTo>
                      <a:pt x="276708" y="778729"/>
                      <a:pt x="216041" y="937355"/>
                      <a:pt x="141546" y="1086298"/>
                    </a:cubicBezTo>
                    <a:lnTo>
                      <a:pt x="82269" y="1191370"/>
                    </a:lnTo>
                    <a:close/>
                  </a:path>
                </a:pathLst>
              </a:custGeom>
              <a:gradFill>
                <a:gsLst>
                  <a:gs pos="43000">
                    <a:srgbClr val="00C8B9"/>
                  </a:gs>
                  <a:gs pos="69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98AD6C82-0D80-4EC1-9120-6A466F664B01}"/>
                  </a:ext>
                </a:extLst>
              </p:cNvPr>
              <p:cNvSpPr/>
              <p:nvPr/>
            </p:nvSpPr>
            <p:spPr>
              <a:xfrm rot="9900000">
                <a:off x="8279541" y="2847096"/>
                <a:ext cx="397392" cy="1185776"/>
              </a:xfrm>
              <a:custGeom>
                <a:avLst/>
                <a:gdLst>
                  <a:gd name="connsiteX0" fmla="*/ 0 w 397392"/>
                  <a:gd name="connsiteY0" fmla="*/ 1185776 h 1185776"/>
                  <a:gd name="connsiteX1" fmla="*/ 1164 w 397392"/>
                  <a:gd name="connsiteY1" fmla="*/ 1068828 h 1185776"/>
                  <a:gd name="connsiteX2" fmla="*/ 82676 w 397392"/>
                  <a:gd name="connsiteY2" fmla="*/ 567761 h 1185776"/>
                  <a:gd name="connsiteX3" fmla="*/ 262618 w 397392"/>
                  <a:gd name="connsiteY3" fmla="*/ 93069 h 1185776"/>
                  <a:gd name="connsiteX4" fmla="*/ 315123 w 397392"/>
                  <a:gd name="connsiteY4" fmla="*/ 0 h 1185776"/>
                  <a:gd name="connsiteX5" fmla="*/ 397392 w 397392"/>
                  <a:gd name="connsiteY5" fmla="*/ 47498 h 1185776"/>
                  <a:gd name="connsiteX6" fmla="*/ 347638 w 397392"/>
                  <a:gd name="connsiteY6" fmla="*/ 135689 h 1185776"/>
                  <a:gd name="connsiteX7" fmla="*/ 174522 w 397392"/>
                  <a:gd name="connsiteY7" fmla="*/ 592371 h 1185776"/>
                  <a:gd name="connsiteX8" fmla="*/ 96104 w 397392"/>
                  <a:gd name="connsiteY8" fmla="*/ 1074428 h 1185776"/>
                  <a:gd name="connsiteX9" fmla="*/ 94996 w 397392"/>
                  <a:gd name="connsiteY9" fmla="*/ 1185776 h 1185776"/>
                  <a:gd name="connsiteX10" fmla="*/ 0 w 397392"/>
                  <a:gd name="connsiteY10" fmla="*/ 1185776 h 118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7392" h="1185776">
                    <a:moveTo>
                      <a:pt x="0" y="1185776"/>
                    </a:moveTo>
                    <a:lnTo>
                      <a:pt x="1164" y="1068828"/>
                    </a:lnTo>
                    <a:cubicBezTo>
                      <a:pt x="11121" y="902592"/>
                      <a:pt x="37895" y="734884"/>
                      <a:pt x="82676" y="567761"/>
                    </a:cubicBezTo>
                    <a:cubicBezTo>
                      <a:pt x="127456" y="400639"/>
                      <a:pt x="188123" y="242012"/>
                      <a:pt x="262618" y="93069"/>
                    </a:cubicBezTo>
                    <a:lnTo>
                      <a:pt x="315123" y="0"/>
                    </a:lnTo>
                    <a:lnTo>
                      <a:pt x="397392" y="47498"/>
                    </a:lnTo>
                    <a:lnTo>
                      <a:pt x="347638" y="135689"/>
                    </a:lnTo>
                    <a:cubicBezTo>
                      <a:pt x="275969" y="278981"/>
                      <a:pt x="217603" y="431589"/>
                      <a:pt x="174522" y="592371"/>
                    </a:cubicBezTo>
                    <a:cubicBezTo>
                      <a:pt x="131440" y="753154"/>
                      <a:pt x="105682" y="914499"/>
                      <a:pt x="96104" y="1074428"/>
                    </a:cubicBezTo>
                    <a:lnTo>
                      <a:pt x="94996" y="1185776"/>
                    </a:lnTo>
                    <a:lnTo>
                      <a:pt x="0" y="1185776"/>
                    </a:lnTo>
                    <a:close/>
                  </a:path>
                </a:pathLst>
              </a:custGeom>
              <a:gradFill>
                <a:gsLst>
                  <a:gs pos="25000">
                    <a:srgbClr val="FF6600"/>
                  </a:gs>
                  <a:gs pos="69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A8BB82B4-7A98-497B-9253-20190F7BC4D3}"/>
                  </a:ext>
                </a:extLst>
              </p:cNvPr>
              <p:cNvSpPr/>
              <p:nvPr/>
            </p:nvSpPr>
            <p:spPr>
              <a:xfrm rot="9900000">
                <a:off x="7710252" y="4165979"/>
                <a:ext cx="914075" cy="918852"/>
              </a:xfrm>
              <a:custGeom>
                <a:avLst/>
                <a:gdLst>
                  <a:gd name="connsiteX0" fmla="*/ 82269 w 914075"/>
                  <a:gd name="connsiteY0" fmla="*/ 918852 h 918852"/>
                  <a:gd name="connsiteX1" fmla="*/ 0 w 914075"/>
                  <a:gd name="connsiteY1" fmla="*/ 871354 h 918852"/>
                  <a:gd name="connsiteX2" fmla="*/ 35654 w 914075"/>
                  <a:gd name="connsiteY2" fmla="*/ 808152 h 918852"/>
                  <a:gd name="connsiteX3" fmla="*/ 699635 w 914075"/>
                  <a:gd name="connsiteY3" fmla="*/ 107205 h 918852"/>
                  <a:gd name="connsiteX4" fmla="*/ 866533 w 914075"/>
                  <a:gd name="connsiteY4" fmla="*/ 0 h 918852"/>
                  <a:gd name="connsiteX5" fmla="*/ 914075 w 914075"/>
                  <a:gd name="connsiteY5" fmla="*/ 82346 h 918852"/>
                  <a:gd name="connsiteX6" fmla="*/ 754853 w 914075"/>
                  <a:gd name="connsiteY6" fmla="*/ 184617 h 918852"/>
                  <a:gd name="connsiteX7" fmla="*/ 116053 w 914075"/>
                  <a:gd name="connsiteY7" fmla="*/ 858968 h 918852"/>
                  <a:gd name="connsiteX8" fmla="*/ 82269 w 914075"/>
                  <a:gd name="connsiteY8" fmla="*/ 918852 h 918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075" h="918852">
                    <a:moveTo>
                      <a:pt x="82269" y="918852"/>
                    </a:moveTo>
                    <a:lnTo>
                      <a:pt x="0" y="871354"/>
                    </a:lnTo>
                    <a:lnTo>
                      <a:pt x="35654" y="808152"/>
                    </a:lnTo>
                    <a:cubicBezTo>
                      <a:pt x="211273" y="530228"/>
                      <a:pt x="438088" y="293411"/>
                      <a:pt x="699635" y="107205"/>
                    </a:cubicBezTo>
                    <a:lnTo>
                      <a:pt x="866533" y="0"/>
                    </a:lnTo>
                    <a:lnTo>
                      <a:pt x="914075" y="82346"/>
                    </a:lnTo>
                    <a:lnTo>
                      <a:pt x="754853" y="184617"/>
                    </a:lnTo>
                    <a:cubicBezTo>
                      <a:pt x="503225" y="363759"/>
                      <a:pt x="285010" y="591589"/>
                      <a:pt x="116053" y="858968"/>
                    </a:cubicBezTo>
                    <a:lnTo>
                      <a:pt x="82269" y="918852"/>
                    </a:lnTo>
                    <a:close/>
                  </a:path>
                </a:pathLst>
              </a:custGeom>
              <a:gradFill>
                <a:gsLst>
                  <a:gs pos="49000">
                    <a:srgbClr val="E9A701"/>
                  </a:gs>
                  <a:gs pos="76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8EFB482-F494-4E63-B6C0-CA0E99F9979F}"/>
                  </a:ext>
                </a:extLst>
              </p:cNvPr>
              <p:cNvSpPr/>
              <p:nvPr/>
            </p:nvSpPr>
            <p:spPr>
              <a:xfrm rot="9900000">
                <a:off x="3823424" y="4040561"/>
                <a:ext cx="402454" cy="1193156"/>
              </a:xfrm>
              <a:custGeom>
                <a:avLst/>
                <a:gdLst>
                  <a:gd name="connsiteX0" fmla="*/ 306772 w 402454"/>
                  <a:gd name="connsiteY0" fmla="*/ 1193156 h 1193156"/>
                  <a:gd name="connsiteX1" fmla="*/ 307419 w 402454"/>
                  <a:gd name="connsiteY1" fmla="*/ 1128089 h 1193156"/>
                  <a:gd name="connsiteX2" fmla="*/ 91377 w 402454"/>
                  <a:gd name="connsiteY2" fmla="*/ 224683 h 1193156"/>
                  <a:gd name="connsiteX3" fmla="*/ 0 w 402454"/>
                  <a:gd name="connsiteY3" fmla="*/ 47543 h 1193156"/>
                  <a:gd name="connsiteX4" fmla="*/ 82347 w 402454"/>
                  <a:gd name="connsiteY4" fmla="*/ 0 h 1193156"/>
                  <a:gd name="connsiteX5" fmla="*/ 177904 w 402454"/>
                  <a:gd name="connsiteY5" fmla="*/ 185252 h 1193156"/>
                  <a:gd name="connsiteX6" fmla="*/ 402454 w 402454"/>
                  <a:gd name="connsiteY6" fmla="*/ 1124280 h 1193156"/>
                  <a:gd name="connsiteX7" fmla="*/ 401768 w 402454"/>
                  <a:gd name="connsiteY7" fmla="*/ 1193155 h 1193156"/>
                  <a:gd name="connsiteX8" fmla="*/ 306772 w 402454"/>
                  <a:gd name="connsiteY8" fmla="*/ 1193156 h 11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2454" h="1193156">
                    <a:moveTo>
                      <a:pt x="306772" y="1193156"/>
                    </a:moveTo>
                    <a:lnTo>
                      <a:pt x="307419" y="1128089"/>
                    </a:lnTo>
                    <a:cubicBezTo>
                      <a:pt x="294787" y="812052"/>
                      <a:pt x="219723" y="505639"/>
                      <a:pt x="91377" y="224683"/>
                    </a:cubicBezTo>
                    <a:lnTo>
                      <a:pt x="0" y="47543"/>
                    </a:lnTo>
                    <a:lnTo>
                      <a:pt x="82347" y="0"/>
                    </a:lnTo>
                    <a:lnTo>
                      <a:pt x="177904" y="185252"/>
                    </a:lnTo>
                    <a:cubicBezTo>
                      <a:pt x="311307" y="477285"/>
                      <a:pt x="389327" y="795781"/>
                      <a:pt x="402454" y="1124280"/>
                    </a:cubicBezTo>
                    <a:lnTo>
                      <a:pt x="401768" y="1193155"/>
                    </a:lnTo>
                    <a:lnTo>
                      <a:pt x="306772" y="1193156"/>
                    </a:lnTo>
                    <a:close/>
                  </a:path>
                </a:pathLst>
              </a:custGeom>
              <a:gradFill>
                <a:gsLst>
                  <a:gs pos="35000">
                    <a:srgbClr val="00A479"/>
                  </a:gs>
                  <a:gs pos="69000">
                    <a:srgbClr val="19FFC3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7700097-6BD1-4EB4-B50A-E8F516BFAF67}"/>
                  </a:ext>
                </a:extLst>
              </p:cNvPr>
              <p:cNvSpPr/>
              <p:nvPr/>
            </p:nvSpPr>
            <p:spPr>
              <a:xfrm rot="9900000">
                <a:off x="6705707" y="5291508"/>
                <a:ext cx="1188246" cy="404485"/>
              </a:xfrm>
              <a:custGeom>
                <a:avLst/>
                <a:gdLst>
                  <a:gd name="connsiteX0" fmla="*/ 47543 w 1188246"/>
                  <a:gd name="connsiteY0" fmla="*/ 404485 h 404485"/>
                  <a:gd name="connsiteX1" fmla="*/ 0 w 1188246"/>
                  <a:gd name="connsiteY1" fmla="*/ 322138 h 404485"/>
                  <a:gd name="connsiteX2" fmla="*/ 190384 w 1188246"/>
                  <a:gd name="connsiteY2" fmla="*/ 224096 h 404485"/>
                  <a:gd name="connsiteX3" fmla="*/ 1129892 w 1188246"/>
                  <a:gd name="connsiteY3" fmla="*/ 0 h 404485"/>
                  <a:gd name="connsiteX4" fmla="*/ 1188246 w 1188246"/>
                  <a:gd name="connsiteY4" fmla="*/ 600 h 404485"/>
                  <a:gd name="connsiteX5" fmla="*/ 1188246 w 1188246"/>
                  <a:gd name="connsiteY5" fmla="*/ 95596 h 404485"/>
                  <a:gd name="connsiteX6" fmla="*/ 1133700 w 1188246"/>
                  <a:gd name="connsiteY6" fmla="*/ 95035 h 404485"/>
                  <a:gd name="connsiteX7" fmla="*/ 229817 w 1188246"/>
                  <a:gd name="connsiteY7" fmla="*/ 310623 h 404485"/>
                  <a:gd name="connsiteX8" fmla="*/ 47543 w 1188246"/>
                  <a:gd name="connsiteY8" fmla="*/ 404485 h 40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8246" h="404485">
                    <a:moveTo>
                      <a:pt x="47543" y="404485"/>
                    </a:moveTo>
                    <a:lnTo>
                      <a:pt x="0" y="322138"/>
                    </a:lnTo>
                    <a:lnTo>
                      <a:pt x="190384" y="224096"/>
                    </a:lnTo>
                    <a:cubicBezTo>
                      <a:pt x="482545" y="90873"/>
                      <a:pt x="801203" y="13007"/>
                      <a:pt x="1129892" y="0"/>
                    </a:cubicBezTo>
                    <a:lnTo>
                      <a:pt x="1188246" y="600"/>
                    </a:lnTo>
                    <a:lnTo>
                      <a:pt x="1188246" y="95596"/>
                    </a:lnTo>
                    <a:lnTo>
                      <a:pt x="1133700" y="95035"/>
                    </a:lnTo>
                    <a:cubicBezTo>
                      <a:pt x="817474" y="107547"/>
                      <a:pt x="510899" y="182456"/>
                      <a:pt x="229817" y="310623"/>
                    </a:cubicBezTo>
                    <a:lnTo>
                      <a:pt x="47543" y="404485"/>
                    </a:lnTo>
                    <a:close/>
                  </a:path>
                </a:pathLst>
              </a:custGeom>
              <a:gradFill>
                <a:gsLst>
                  <a:gs pos="47000">
                    <a:srgbClr val="C8DD01"/>
                  </a:gs>
                  <a:gs pos="69000">
                    <a:srgbClr val="E5F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B6266F8C-1AA5-455F-835E-CCDAD2BFB69D}"/>
                  </a:ext>
                </a:extLst>
              </p:cNvPr>
              <p:cNvSpPr/>
              <p:nvPr/>
            </p:nvSpPr>
            <p:spPr>
              <a:xfrm rot="9900000">
                <a:off x="4433377" y="5050023"/>
                <a:ext cx="922311" cy="918402"/>
              </a:xfrm>
              <a:custGeom>
                <a:avLst/>
                <a:gdLst>
                  <a:gd name="connsiteX0" fmla="*/ 839963 w 922311"/>
                  <a:gd name="connsiteY0" fmla="*/ 918402 h 918402"/>
                  <a:gd name="connsiteX1" fmla="*/ 734496 w 922311"/>
                  <a:gd name="connsiteY1" fmla="*/ 754458 h 918402"/>
                  <a:gd name="connsiteX2" fmla="*/ 59504 w 922311"/>
                  <a:gd name="connsiteY2" fmla="*/ 115811 h 918402"/>
                  <a:gd name="connsiteX3" fmla="*/ 0 w 922311"/>
                  <a:gd name="connsiteY3" fmla="*/ 82268 h 918402"/>
                  <a:gd name="connsiteX4" fmla="*/ 47499 w 922311"/>
                  <a:gd name="connsiteY4" fmla="*/ 0 h 918402"/>
                  <a:gd name="connsiteX5" fmla="*/ 110320 w 922311"/>
                  <a:gd name="connsiteY5" fmla="*/ 35412 h 918402"/>
                  <a:gd name="connsiteX6" fmla="*/ 811910 w 922311"/>
                  <a:gd name="connsiteY6" fmla="*/ 699240 h 918402"/>
                  <a:gd name="connsiteX7" fmla="*/ 922311 w 922311"/>
                  <a:gd name="connsiteY7" fmla="*/ 870858 h 918402"/>
                  <a:gd name="connsiteX8" fmla="*/ 839963 w 922311"/>
                  <a:gd name="connsiteY8" fmla="*/ 918402 h 91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311" h="918402">
                    <a:moveTo>
                      <a:pt x="839963" y="918402"/>
                    </a:moveTo>
                    <a:lnTo>
                      <a:pt x="734496" y="754458"/>
                    </a:lnTo>
                    <a:cubicBezTo>
                      <a:pt x="555155" y="502921"/>
                      <a:pt x="327108" y="284760"/>
                      <a:pt x="59504" y="115811"/>
                    </a:cubicBezTo>
                    <a:lnTo>
                      <a:pt x="0" y="82268"/>
                    </a:lnTo>
                    <a:lnTo>
                      <a:pt x="47499" y="0"/>
                    </a:lnTo>
                    <a:lnTo>
                      <a:pt x="110320" y="35412"/>
                    </a:lnTo>
                    <a:cubicBezTo>
                      <a:pt x="388469" y="211022"/>
                      <a:pt x="625502" y="437785"/>
                      <a:pt x="811910" y="699240"/>
                    </a:cubicBezTo>
                    <a:lnTo>
                      <a:pt x="922311" y="870858"/>
                    </a:lnTo>
                    <a:lnTo>
                      <a:pt x="839963" y="918402"/>
                    </a:lnTo>
                    <a:close/>
                  </a:path>
                </a:pathLst>
              </a:custGeom>
              <a:gradFill>
                <a:gsLst>
                  <a:gs pos="25000">
                    <a:srgbClr val="007830"/>
                  </a:gs>
                  <a:gs pos="69000">
                    <a:srgbClr val="A9D18E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C5F9F35F-D386-4AC1-A13E-5E5494541CA8}"/>
                  </a:ext>
                </a:extLst>
              </p:cNvPr>
              <p:cNvSpPr/>
              <p:nvPr/>
            </p:nvSpPr>
            <p:spPr>
              <a:xfrm rot="9900000">
                <a:off x="5489277" y="5622381"/>
                <a:ext cx="1191239" cy="397916"/>
              </a:xfrm>
              <a:custGeom>
                <a:avLst/>
                <a:gdLst>
                  <a:gd name="connsiteX0" fmla="*/ 0 w 1191239"/>
                  <a:gd name="connsiteY0" fmla="*/ 94996 h 397916"/>
                  <a:gd name="connsiteX1" fmla="*/ 0 w 1191239"/>
                  <a:gd name="connsiteY1" fmla="*/ 0 h 397916"/>
                  <a:gd name="connsiteX2" fmla="*/ 121207 w 1191239"/>
                  <a:gd name="connsiteY2" fmla="*/ 1246 h 397916"/>
                  <a:gd name="connsiteX3" fmla="*/ 622598 w 1191239"/>
                  <a:gd name="connsiteY3" fmla="*/ 82880 h 397916"/>
                  <a:gd name="connsiteX4" fmla="*/ 1097632 w 1191239"/>
                  <a:gd name="connsiteY4" fmla="*/ 262879 h 397916"/>
                  <a:gd name="connsiteX5" fmla="*/ 1191239 w 1191239"/>
                  <a:gd name="connsiteY5" fmla="*/ 315646 h 397916"/>
                  <a:gd name="connsiteX6" fmla="*/ 1143741 w 1191239"/>
                  <a:gd name="connsiteY6" fmla="*/ 397916 h 397916"/>
                  <a:gd name="connsiteX7" fmla="*/ 1055012 w 1191239"/>
                  <a:gd name="connsiteY7" fmla="*/ 347900 h 397916"/>
                  <a:gd name="connsiteX8" fmla="*/ 597988 w 1191239"/>
                  <a:gd name="connsiteY8" fmla="*/ 174726 h 397916"/>
                  <a:gd name="connsiteX9" fmla="*/ 115607 w 1191239"/>
                  <a:gd name="connsiteY9" fmla="*/ 96187 h 397916"/>
                  <a:gd name="connsiteX10" fmla="*/ 0 w 1191239"/>
                  <a:gd name="connsiteY10" fmla="*/ 94996 h 397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1239" h="397916">
                    <a:moveTo>
                      <a:pt x="0" y="94996"/>
                    </a:moveTo>
                    <a:lnTo>
                      <a:pt x="0" y="0"/>
                    </a:lnTo>
                    <a:lnTo>
                      <a:pt x="121207" y="1246"/>
                    </a:lnTo>
                    <a:cubicBezTo>
                      <a:pt x="287544" y="11254"/>
                      <a:pt x="455361" y="38069"/>
                      <a:pt x="622598" y="82880"/>
                    </a:cubicBezTo>
                    <a:cubicBezTo>
                      <a:pt x="789835" y="127691"/>
                      <a:pt x="948576" y="188377"/>
                      <a:pt x="1097632" y="262879"/>
                    </a:cubicBezTo>
                    <a:lnTo>
                      <a:pt x="1191239" y="315646"/>
                    </a:lnTo>
                    <a:lnTo>
                      <a:pt x="1143741" y="397916"/>
                    </a:lnTo>
                    <a:lnTo>
                      <a:pt x="1055012" y="347900"/>
                    </a:lnTo>
                    <a:cubicBezTo>
                      <a:pt x="911607" y="276222"/>
                      <a:pt x="758884" y="217838"/>
                      <a:pt x="597988" y="174726"/>
                    </a:cubicBezTo>
                    <a:cubicBezTo>
                      <a:pt x="437092" y="131614"/>
                      <a:pt x="275638" y="105815"/>
                      <a:pt x="115607" y="96187"/>
                    </a:cubicBezTo>
                    <a:lnTo>
                      <a:pt x="0" y="94996"/>
                    </a:lnTo>
                    <a:close/>
                  </a:path>
                </a:pathLst>
              </a:custGeom>
              <a:gradFill>
                <a:gsLst>
                  <a:gs pos="25000">
                    <a:srgbClr val="00D200"/>
                  </a:gs>
                  <a:gs pos="69000">
                    <a:srgbClr val="B8FFB8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2012E60E-98B0-4B31-AF04-2DE085D1D5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698448"/>
                <a:ext cx="537972" cy="537972"/>
              </a:xfrm>
              <a:prstGeom prst="ellipse">
                <a:avLst/>
              </a:prstGeom>
              <a:gradFill>
                <a:gsLst>
                  <a:gs pos="53000">
                    <a:srgbClr val="DB97ED"/>
                  </a:gs>
                  <a:gs pos="47000">
                    <a:srgbClr val="B536DB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2C9F75D-367D-417F-8D55-4E145D05DD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1013632"/>
                <a:ext cx="537972" cy="537972"/>
              </a:xfrm>
              <a:prstGeom prst="ellipse">
                <a:avLst/>
              </a:prstGeom>
              <a:gradFill>
                <a:gsLst>
                  <a:gs pos="43000">
                    <a:srgbClr val="E03890"/>
                  </a:gs>
                  <a:gs pos="54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3DB48486-494D-410C-B6A7-5122CCBD57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2900" y="1896596"/>
                <a:ext cx="537972" cy="537972"/>
              </a:xfrm>
              <a:prstGeom prst="ellipse">
                <a:avLst/>
              </a:prstGeom>
              <a:gradFill>
                <a:gsLst>
                  <a:gs pos="32000">
                    <a:srgbClr val="DA0000"/>
                  </a:gs>
                  <a:gs pos="56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7733DB7E-756C-4ABF-AD14-DD2CD1DCD7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80279" y="3149705"/>
                <a:ext cx="537972" cy="537972"/>
              </a:xfrm>
              <a:prstGeom prst="ellipse">
                <a:avLst/>
              </a:prstGeom>
              <a:gradFill>
                <a:gsLst>
                  <a:gs pos="40000">
                    <a:srgbClr val="FF6600"/>
                  </a:gs>
                  <a:gs pos="52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2CAE1A57-F879-412B-92FD-02EE088D33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3021" y="4387177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E9A701"/>
                  </a:gs>
                  <a:gs pos="55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9AA11B26-E122-4BCB-BE9B-688F768CF9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5629704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D200"/>
                  </a:gs>
                  <a:gs pos="50000">
                    <a:srgbClr val="71FF7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A8BC99A-1307-4355-A3C9-D2C6CED6EE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88346" y="5298709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7830"/>
                  </a:gs>
                  <a:gs pos="54000">
                    <a:schemeClr val="accent6">
                      <a:lumMod val="60000"/>
                      <a:lumOff val="4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04E165E7-D1D1-46E7-95BD-93C65F48BE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44028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A479"/>
                  </a:gs>
                  <a:gs pos="54000">
                    <a:srgbClr val="00DAA1">
                      <a:lumMod val="95000"/>
                      <a:lumOff val="500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71B5172D-D7CC-458B-A73A-59567D5C0D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5737" y="31600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DECE">
                      <a:lumMod val="90000"/>
                    </a:srgbClr>
                  </a:gs>
                  <a:gs pos="52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8096D892-A908-4E08-B0A2-FD99374103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1896596"/>
                <a:ext cx="537972" cy="537972"/>
              </a:xfrm>
              <a:prstGeom prst="ellipse">
                <a:avLst/>
              </a:prstGeom>
              <a:gradFill>
                <a:gsLst>
                  <a:gs pos="46000">
                    <a:srgbClr val="019EFF"/>
                  </a:gs>
                  <a:gs pos="50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39AA67B2-FD8B-49E7-9388-41429F013C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98080" y="1067313"/>
                <a:ext cx="537972" cy="537972"/>
              </a:xfrm>
              <a:prstGeom prst="ellipse">
                <a:avLst/>
              </a:prstGeom>
              <a:gradFill>
                <a:gsLst>
                  <a:gs pos="44000">
                    <a:srgbClr val="3E36E3"/>
                  </a:gs>
                  <a:gs pos="50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76ABC789-6761-49B4-8671-3B4C27DB5806}"/>
                  </a:ext>
                </a:extLst>
              </p:cNvPr>
              <p:cNvGrpSpPr/>
              <p:nvPr/>
            </p:nvGrpSpPr>
            <p:grpSpPr>
              <a:xfrm>
                <a:off x="3777047" y="2009210"/>
                <a:ext cx="280995" cy="333188"/>
                <a:chOff x="1631140" y="902248"/>
                <a:chExt cx="2555268" cy="2728283"/>
              </a:xfrm>
            </p:grpSpPr>
            <p:sp>
              <p:nvSpPr>
                <p:cNvPr id="424" name="Freeform 47">
                  <a:extLst>
                    <a:ext uri="{FF2B5EF4-FFF2-40B4-BE49-F238E27FC236}">
                      <a16:creationId xmlns:a16="http://schemas.microsoft.com/office/drawing/2014/main" id="{6A56F4E6-F024-4A1B-90BB-112710FE60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140" y="902248"/>
                  <a:ext cx="2555268" cy="2728283"/>
                </a:xfrm>
                <a:custGeom>
                  <a:avLst/>
                  <a:gdLst>
                    <a:gd name="T0" fmla="*/ 199 w 398"/>
                    <a:gd name="T1" fmla="*/ 425 h 425"/>
                    <a:gd name="T2" fmla="*/ 18 w 398"/>
                    <a:gd name="T3" fmla="*/ 85 h 425"/>
                    <a:gd name="T4" fmla="*/ 199 w 398"/>
                    <a:gd name="T5" fmla="*/ 0 h 425"/>
                    <a:gd name="T6" fmla="*/ 380 w 398"/>
                    <a:gd name="T7" fmla="*/ 85 h 425"/>
                    <a:gd name="T8" fmla="*/ 199 w 398"/>
                    <a:gd name="T9" fmla="*/ 425 h 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8" h="425">
                      <a:moveTo>
                        <a:pt x="199" y="425"/>
                      </a:moveTo>
                      <a:cubicBezTo>
                        <a:pt x="0" y="347"/>
                        <a:pt x="18" y="85"/>
                        <a:pt x="18" y="85"/>
                      </a:cubicBezTo>
                      <a:cubicBezTo>
                        <a:pt x="139" y="107"/>
                        <a:pt x="199" y="0"/>
                        <a:pt x="199" y="0"/>
                      </a:cubicBezTo>
                      <a:cubicBezTo>
                        <a:pt x="199" y="0"/>
                        <a:pt x="260" y="107"/>
                        <a:pt x="380" y="85"/>
                      </a:cubicBezTo>
                      <a:cubicBezTo>
                        <a:pt x="380" y="85"/>
                        <a:pt x="398" y="347"/>
                        <a:pt x="199" y="4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5" name="Freeform 49">
                  <a:extLst>
                    <a:ext uri="{FF2B5EF4-FFF2-40B4-BE49-F238E27FC236}">
                      <a16:creationId xmlns:a16="http://schemas.microsoft.com/office/drawing/2014/main" id="{70BABF6F-28DC-43B8-9976-45E531786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972" y="1700059"/>
                  <a:ext cx="1197782" cy="958226"/>
                </a:xfrm>
                <a:custGeom>
                  <a:avLst/>
                  <a:gdLst>
                    <a:gd name="T0" fmla="*/ 0 w 187"/>
                    <a:gd name="T1" fmla="*/ 88 h 150"/>
                    <a:gd name="T2" fmla="*/ 62 w 187"/>
                    <a:gd name="T3" fmla="*/ 150 h 150"/>
                    <a:gd name="T4" fmla="*/ 187 w 187"/>
                    <a:gd name="T5" fmla="*/ 25 h 150"/>
                    <a:gd name="T6" fmla="*/ 162 w 187"/>
                    <a:gd name="T7" fmla="*/ 0 h 150"/>
                    <a:gd name="T8" fmla="*/ 62 w 187"/>
                    <a:gd name="T9" fmla="*/ 100 h 150"/>
                    <a:gd name="T10" fmla="*/ 25 w 187"/>
                    <a:gd name="T11" fmla="*/ 63 h 150"/>
                    <a:gd name="T12" fmla="*/ 0 w 187"/>
                    <a:gd name="T13" fmla="*/ 88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50">
                      <a:moveTo>
                        <a:pt x="0" y="88"/>
                      </a:moveTo>
                      <a:lnTo>
                        <a:pt x="62" y="150"/>
                      </a:lnTo>
                      <a:lnTo>
                        <a:pt x="187" y="25"/>
                      </a:lnTo>
                      <a:lnTo>
                        <a:pt x="162" y="0"/>
                      </a:lnTo>
                      <a:lnTo>
                        <a:pt x="62" y="100"/>
                      </a:lnTo>
                      <a:lnTo>
                        <a:pt x="25" y="63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rgbClr val="019E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26" name="Thinking">
                <a:extLst>
                  <a:ext uri="{FF2B5EF4-FFF2-40B4-BE49-F238E27FC236}">
                    <a16:creationId xmlns:a16="http://schemas.microsoft.com/office/drawing/2014/main" id="{23E4A730-C850-4ADE-8261-2B75381CAF9F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3806804" y="1243081"/>
                <a:ext cx="1120430" cy="3599942"/>
                <a:chOff x="4625" y="3442"/>
                <a:chExt cx="2892" cy="9292"/>
              </a:xfrm>
              <a:solidFill>
                <a:schemeClr val="bg1"/>
              </a:solidFill>
            </p:grpSpPr>
            <p:sp>
              <p:nvSpPr>
                <p:cNvPr id="427" name="Oval 608">
                  <a:extLst>
                    <a:ext uri="{FF2B5EF4-FFF2-40B4-BE49-F238E27FC236}">
                      <a16:creationId xmlns:a16="http://schemas.microsoft.com/office/drawing/2014/main" id="{518C050D-8248-4DB8-96C5-132D479D96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5" y="3478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8" name="Oval 609">
                  <a:extLst>
                    <a:ext uri="{FF2B5EF4-FFF2-40B4-BE49-F238E27FC236}">
                      <a16:creationId xmlns:a16="http://schemas.microsoft.com/office/drawing/2014/main" id="{129C5711-9DC9-44FE-9D98-E9460807E4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" y="3720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9" name="Oval 610">
                  <a:extLst>
                    <a:ext uri="{FF2B5EF4-FFF2-40B4-BE49-F238E27FC236}">
                      <a16:creationId xmlns:a16="http://schemas.microsoft.com/office/drawing/2014/main" id="{3BD9E0FE-C0AD-4556-907A-30C92E20F5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2" y="3442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0" name="Freeform 611">
                  <a:extLst>
                    <a:ext uri="{FF2B5EF4-FFF2-40B4-BE49-F238E27FC236}">
                      <a16:creationId xmlns:a16="http://schemas.microsoft.com/office/drawing/2014/main" id="{53943EC6-56E8-4C92-9F7A-25DB6DCE92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25" y="11896"/>
                  <a:ext cx="703" cy="838"/>
                </a:xfrm>
                <a:custGeom>
                  <a:avLst/>
                  <a:gdLst>
                    <a:gd name="T0" fmla="*/ 102 w 1051"/>
                    <a:gd name="T1" fmla="*/ 483 h 1250"/>
                    <a:gd name="T2" fmla="*/ 38 w 1051"/>
                    <a:gd name="T3" fmla="*/ 785 h 1250"/>
                    <a:gd name="T4" fmla="*/ 289 w 1051"/>
                    <a:gd name="T5" fmla="*/ 1105 h 1250"/>
                    <a:gd name="T6" fmla="*/ 869 w 1051"/>
                    <a:gd name="T7" fmla="*/ 1250 h 1250"/>
                    <a:gd name="T8" fmla="*/ 576 w 1051"/>
                    <a:gd name="T9" fmla="*/ 0 h 1250"/>
                    <a:gd name="T10" fmla="*/ 218 w 1051"/>
                    <a:gd name="T11" fmla="*/ 471 h 1250"/>
                    <a:gd name="T12" fmla="*/ 918 w 1051"/>
                    <a:gd name="T13" fmla="*/ 505 h 1250"/>
                    <a:gd name="T14" fmla="*/ 772 w 1051"/>
                    <a:gd name="T15" fmla="*/ 526 h 1250"/>
                    <a:gd name="T16" fmla="*/ 790 w 1051"/>
                    <a:gd name="T17" fmla="*/ 627 h 1250"/>
                    <a:gd name="T18" fmla="*/ 843 w 1051"/>
                    <a:gd name="T19" fmla="*/ 618 h 1250"/>
                    <a:gd name="T20" fmla="*/ 855 w 1051"/>
                    <a:gd name="T21" fmla="*/ 694 h 1250"/>
                    <a:gd name="T22" fmla="*/ 853 w 1051"/>
                    <a:gd name="T23" fmla="*/ 738 h 1250"/>
                    <a:gd name="T24" fmla="*/ 862 w 1051"/>
                    <a:gd name="T25" fmla="*/ 791 h 1250"/>
                    <a:gd name="T26" fmla="*/ 786 w 1051"/>
                    <a:gd name="T27" fmla="*/ 803 h 1250"/>
                    <a:gd name="T28" fmla="*/ 742 w 1051"/>
                    <a:gd name="T29" fmla="*/ 801 h 1250"/>
                    <a:gd name="T30" fmla="*/ 689 w 1051"/>
                    <a:gd name="T31" fmla="*/ 810 h 1250"/>
                    <a:gd name="T32" fmla="*/ 677 w 1051"/>
                    <a:gd name="T33" fmla="*/ 734 h 1250"/>
                    <a:gd name="T34" fmla="*/ 679 w 1051"/>
                    <a:gd name="T35" fmla="*/ 690 h 1250"/>
                    <a:gd name="T36" fmla="*/ 670 w 1051"/>
                    <a:gd name="T37" fmla="*/ 637 h 1250"/>
                    <a:gd name="T38" fmla="*/ 746 w 1051"/>
                    <a:gd name="T39" fmla="*/ 625 h 1250"/>
                    <a:gd name="T40" fmla="*/ 678 w 1051"/>
                    <a:gd name="T41" fmla="*/ 524 h 1250"/>
                    <a:gd name="T42" fmla="*/ 584 w 1051"/>
                    <a:gd name="T43" fmla="*/ 549 h 1250"/>
                    <a:gd name="T44" fmla="*/ 563 w 1051"/>
                    <a:gd name="T45" fmla="*/ 403 h 1250"/>
                    <a:gd name="T46" fmla="*/ 458 w 1051"/>
                    <a:gd name="T47" fmla="*/ 340 h 1250"/>
                    <a:gd name="T48" fmla="*/ 475 w 1051"/>
                    <a:gd name="T49" fmla="*/ 400 h 1250"/>
                    <a:gd name="T50" fmla="*/ 381 w 1051"/>
                    <a:gd name="T51" fmla="*/ 414 h 1250"/>
                    <a:gd name="T52" fmla="*/ 319 w 1051"/>
                    <a:gd name="T53" fmla="*/ 412 h 1250"/>
                    <a:gd name="T54" fmla="*/ 258 w 1051"/>
                    <a:gd name="T55" fmla="*/ 429 h 1250"/>
                    <a:gd name="T56" fmla="*/ 245 w 1051"/>
                    <a:gd name="T57" fmla="*/ 334 h 1250"/>
                    <a:gd name="T58" fmla="*/ 246 w 1051"/>
                    <a:gd name="T59" fmla="*/ 272 h 1250"/>
                    <a:gd name="T60" fmla="*/ 229 w 1051"/>
                    <a:gd name="T61" fmla="*/ 212 h 1250"/>
                    <a:gd name="T62" fmla="*/ 324 w 1051"/>
                    <a:gd name="T63" fmla="*/ 198 h 1250"/>
                    <a:gd name="T64" fmla="*/ 386 w 1051"/>
                    <a:gd name="T65" fmla="*/ 200 h 1250"/>
                    <a:gd name="T66" fmla="*/ 447 w 1051"/>
                    <a:gd name="T67" fmla="*/ 183 h 1250"/>
                    <a:gd name="T68" fmla="*/ 460 w 1051"/>
                    <a:gd name="T69" fmla="*/ 278 h 1250"/>
                    <a:gd name="T70" fmla="*/ 566 w 1051"/>
                    <a:gd name="T71" fmla="*/ 309 h 1250"/>
                    <a:gd name="T72" fmla="*/ 541 w 1051"/>
                    <a:gd name="T73" fmla="*/ 215 h 1250"/>
                    <a:gd name="T74" fmla="*/ 687 w 1051"/>
                    <a:gd name="T75" fmla="*/ 194 h 1250"/>
                    <a:gd name="T76" fmla="*/ 781 w 1051"/>
                    <a:gd name="T77" fmla="*/ 197 h 1250"/>
                    <a:gd name="T78" fmla="*/ 875 w 1051"/>
                    <a:gd name="T79" fmla="*/ 171 h 1250"/>
                    <a:gd name="T80" fmla="*/ 896 w 1051"/>
                    <a:gd name="T81" fmla="*/ 317 h 1250"/>
                    <a:gd name="T82" fmla="*/ 893 w 1051"/>
                    <a:gd name="T83" fmla="*/ 412 h 1250"/>
                    <a:gd name="T84" fmla="*/ 918 w 1051"/>
                    <a:gd name="T85" fmla="*/ 505 h 1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51" h="1250">
                      <a:moveTo>
                        <a:pt x="576" y="0"/>
                      </a:moveTo>
                      <a:cubicBezTo>
                        <a:pt x="361" y="0"/>
                        <a:pt x="163" y="162"/>
                        <a:pt x="122" y="340"/>
                      </a:cubicBezTo>
                      <a:cubicBezTo>
                        <a:pt x="112" y="379"/>
                        <a:pt x="102" y="483"/>
                        <a:pt x="102" y="483"/>
                      </a:cubicBezTo>
                      <a:lnTo>
                        <a:pt x="3" y="732"/>
                      </a:lnTo>
                      <a:cubicBezTo>
                        <a:pt x="1" y="737"/>
                        <a:pt x="0" y="742"/>
                        <a:pt x="0" y="747"/>
                      </a:cubicBezTo>
                      <a:cubicBezTo>
                        <a:pt x="0" y="768"/>
                        <a:pt x="17" y="785"/>
                        <a:pt x="38" y="785"/>
                      </a:cubicBezTo>
                      <a:lnTo>
                        <a:pt x="102" y="785"/>
                      </a:lnTo>
                      <a:lnTo>
                        <a:pt x="102" y="918"/>
                      </a:lnTo>
                      <a:cubicBezTo>
                        <a:pt x="102" y="1021"/>
                        <a:pt x="186" y="1105"/>
                        <a:pt x="289" y="1105"/>
                      </a:cubicBezTo>
                      <a:lnTo>
                        <a:pt x="363" y="1105"/>
                      </a:lnTo>
                      <a:lnTo>
                        <a:pt x="363" y="1250"/>
                      </a:lnTo>
                      <a:lnTo>
                        <a:pt x="869" y="1250"/>
                      </a:lnTo>
                      <a:lnTo>
                        <a:pt x="869" y="847"/>
                      </a:lnTo>
                      <a:cubicBezTo>
                        <a:pt x="980" y="761"/>
                        <a:pt x="1051" y="626"/>
                        <a:pt x="1051" y="474"/>
                      </a:cubicBezTo>
                      <a:cubicBezTo>
                        <a:pt x="1051" y="212"/>
                        <a:pt x="838" y="0"/>
                        <a:pt x="576" y="0"/>
                      </a:cubicBezTo>
                      <a:close/>
                      <a:moveTo>
                        <a:pt x="218" y="577"/>
                      </a:moveTo>
                      <a:cubicBezTo>
                        <a:pt x="189" y="577"/>
                        <a:pt x="166" y="553"/>
                        <a:pt x="166" y="524"/>
                      </a:cubicBezTo>
                      <a:cubicBezTo>
                        <a:pt x="166" y="495"/>
                        <a:pt x="189" y="471"/>
                        <a:pt x="218" y="471"/>
                      </a:cubicBezTo>
                      <a:cubicBezTo>
                        <a:pt x="248" y="471"/>
                        <a:pt x="272" y="495"/>
                        <a:pt x="272" y="524"/>
                      </a:cubicBezTo>
                      <a:cubicBezTo>
                        <a:pt x="272" y="553"/>
                        <a:pt x="248" y="577"/>
                        <a:pt x="218" y="577"/>
                      </a:cubicBezTo>
                      <a:close/>
                      <a:moveTo>
                        <a:pt x="918" y="505"/>
                      </a:moveTo>
                      <a:lnTo>
                        <a:pt x="869" y="555"/>
                      </a:lnTo>
                      <a:lnTo>
                        <a:pt x="809" y="512"/>
                      </a:lnTo>
                      <a:cubicBezTo>
                        <a:pt x="797" y="518"/>
                        <a:pt x="785" y="523"/>
                        <a:pt x="772" y="526"/>
                      </a:cubicBezTo>
                      <a:lnTo>
                        <a:pt x="761" y="592"/>
                      </a:lnTo>
                      <a:lnTo>
                        <a:pt x="784" y="592"/>
                      </a:lnTo>
                      <a:lnTo>
                        <a:pt x="790" y="627"/>
                      </a:lnTo>
                      <a:cubicBezTo>
                        <a:pt x="793" y="627"/>
                        <a:pt x="795" y="628"/>
                        <a:pt x="798" y="629"/>
                      </a:cubicBezTo>
                      <a:cubicBezTo>
                        <a:pt x="804" y="631"/>
                        <a:pt x="810" y="634"/>
                        <a:pt x="815" y="637"/>
                      </a:cubicBezTo>
                      <a:lnTo>
                        <a:pt x="843" y="618"/>
                      </a:lnTo>
                      <a:lnTo>
                        <a:pt x="865" y="641"/>
                      </a:lnTo>
                      <a:lnTo>
                        <a:pt x="845" y="670"/>
                      </a:lnTo>
                      <a:cubicBezTo>
                        <a:pt x="849" y="677"/>
                        <a:pt x="853" y="686"/>
                        <a:pt x="855" y="694"/>
                      </a:cubicBezTo>
                      <a:lnTo>
                        <a:pt x="888" y="700"/>
                      </a:lnTo>
                      <a:lnTo>
                        <a:pt x="888" y="732"/>
                      </a:lnTo>
                      <a:lnTo>
                        <a:pt x="853" y="738"/>
                      </a:lnTo>
                      <a:cubicBezTo>
                        <a:pt x="853" y="741"/>
                        <a:pt x="852" y="743"/>
                        <a:pt x="851" y="746"/>
                      </a:cubicBezTo>
                      <a:cubicBezTo>
                        <a:pt x="849" y="752"/>
                        <a:pt x="846" y="758"/>
                        <a:pt x="843" y="763"/>
                      </a:cubicBezTo>
                      <a:lnTo>
                        <a:pt x="862" y="791"/>
                      </a:lnTo>
                      <a:lnTo>
                        <a:pt x="840" y="813"/>
                      </a:lnTo>
                      <a:lnTo>
                        <a:pt x="811" y="793"/>
                      </a:lnTo>
                      <a:cubicBezTo>
                        <a:pt x="803" y="797"/>
                        <a:pt x="795" y="801"/>
                        <a:pt x="786" y="803"/>
                      </a:cubicBezTo>
                      <a:lnTo>
                        <a:pt x="780" y="836"/>
                      </a:lnTo>
                      <a:lnTo>
                        <a:pt x="748" y="836"/>
                      </a:lnTo>
                      <a:lnTo>
                        <a:pt x="742" y="801"/>
                      </a:lnTo>
                      <a:cubicBezTo>
                        <a:pt x="739" y="801"/>
                        <a:pt x="737" y="800"/>
                        <a:pt x="734" y="799"/>
                      </a:cubicBezTo>
                      <a:cubicBezTo>
                        <a:pt x="728" y="797"/>
                        <a:pt x="723" y="794"/>
                        <a:pt x="717" y="791"/>
                      </a:cubicBezTo>
                      <a:lnTo>
                        <a:pt x="689" y="810"/>
                      </a:lnTo>
                      <a:lnTo>
                        <a:pt x="667" y="788"/>
                      </a:lnTo>
                      <a:lnTo>
                        <a:pt x="687" y="759"/>
                      </a:lnTo>
                      <a:cubicBezTo>
                        <a:pt x="683" y="751"/>
                        <a:pt x="679" y="743"/>
                        <a:pt x="677" y="734"/>
                      </a:cubicBezTo>
                      <a:lnTo>
                        <a:pt x="644" y="728"/>
                      </a:lnTo>
                      <a:lnTo>
                        <a:pt x="644" y="696"/>
                      </a:lnTo>
                      <a:lnTo>
                        <a:pt x="679" y="690"/>
                      </a:lnTo>
                      <a:cubicBezTo>
                        <a:pt x="680" y="687"/>
                        <a:pt x="680" y="685"/>
                        <a:pt x="681" y="682"/>
                      </a:cubicBezTo>
                      <a:cubicBezTo>
                        <a:pt x="683" y="676"/>
                        <a:pt x="686" y="671"/>
                        <a:pt x="689" y="665"/>
                      </a:cubicBezTo>
                      <a:lnTo>
                        <a:pt x="670" y="637"/>
                      </a:lnTo>
                      <a:lnTo>
                        <a:pt x="693" y="615"/>
                      </a:lnTo>
                      <a:lnTo>
                        <a:pt x="722" y="635"/>
                      </a:lnTo>
                      <a:cubicBezTo>
                        <a:pt x="729" y="631"/>
                        <a:pt x="738" y="627"/>
                        <a:pt x="746" y="625"/>
                      </a:cubicBezTo>
                      <a:lnTo>
                        <a:pt x="751" y="596"/>
                      </a:lnTo>
                      <a:lnTo>
                        <a:pt x="691" y="596"/>
                      </a:lnTo>
                      <a:lnTo>
                        <a:pt x="678" y="524"/>
                      </a:lnTo>
                      <a:cubicBezTo>
                        <a:pt x="675" y="523"/>
                        <a:pt x="673" y="522"/>
                        <a:pt x="670" y="521"/>
                      </a:cubicBezTo>
                      <a:cubicBezTo>
                        <a:pt x="660" y="518"/>
                        <a:pt x="651" y="513"/>
                        <a:pt x="642" y="508"/>
                      </a:cubicBezTo>
                      <a:lnTo>
                        <a:pt x="584" y="549"/>
                      </a:lnTo>
                      <a:lnTo>
                        <a:pt x="535" y="500"/>
                      </a:lnTo>
                      <a:lnTo>
                        <a:pt x="578" y="440"/>
                      </a:lnTo>
                      <a:cubicBezTo>
                        <a:pt x="571" y="428"/>
                        <a:pt x="567" y="416"/>
                        <a:pt x="563" y="403"/>
                      </a:cubicBezTo>
                      <a:lnTo>
                        <a:pt x="494" y="391"/>
                      </a:lnTo>
                      <a:lnTo>
                        <a:pt x="494" y="334"/>
                      </a:lnTo>
                      <a:lnTo>
                        <a:pt x="458" y="340"/>
                      </a:lnTo>
                      <a:cubicBezTo>
                        <a:pt x="458" y="341"/>
                        <a:pt x="458" y="343"/>
                        <a:pt x="457" y="345"/>
                      </a:cubicBezTo>
                      <a:cubicBezTo>
                        <a:pt x="455" y="351"/>
                        <a:pt x="452" y="357"/>
                        <a:pt x="449" y="362"/>
                      </a:cubicBezTo>
                      <a:lnTo>
                        <a:pt x="475" y="400"/>
                      </a:lnTo>
                      <a:lnTo>
                        <a:pt x="443" y="433"/>
                      </a:lnTo>
                      <a:lnTo>
                        <a:pt x="403" y="405"/>
                      </a:lnTo>
                      <a:cubicBezTo>
                        <a:pt x="396" y="409"/>
                        <a:pt x="389" y="412"/>
                        <a:pt x="381" y="414"/>
                      </a:cubicBezTo>
                      <a:lnTo>
                        <a:pt x="373" y="460"/>
                      </a:lnTo>
                      <a:lnTo>
                        <a:pt x="327" y="460"/>
                      </a:lnTo>
                      <a:lnTo>
                        <a:pt x="319" y="412"/>
                      </a:lnTo>
                      <a:cubicBezTo>
                        <a:pt x="317" y="411"/>
                        <a:pt x="315" y="411"/>
                        <a:pt x="314" y="411"/>
                      </a:cubicBezTo>
                      <a:cubicBezTo>
                        <a:pt x="308" y="408"/>
                        <a:pt x="302" y="405"/>
                        <a:pt x="296" y="402"/>
                      </a:cubicBezTo>
                      <a:lnTo>
                        <a:pt x="258" y="429"/>
                      </a:lnTo>
                      <a:lnTo>
                        <a:pt x="226" y="397"/>
                      </a:lnTo>
                      <a:lnTo>
                        <a:pt x="254" y="357"/>
                      </a:lnTo>
                      <a:cubicBezTo>
                        <a:pt x="250" y="350"/>
                        <a:pt x="247" y="342"/>
                        <a:pt x="245" y="334"/>
                      </a:cubicBezTo>
                      <a:lnTo>
                        <a:pt x="199" y="326"/>
                      </a:lnTo>
                      <a:lnTo>
                        <a:pt x="199" y="280"/>
                      </a:lnTo>
                      <a:lnTo>
                        <a:pt x="246" y="272"/>
                      </a:lnTo>
                      <a:cubicBezTo>
                        <a:pt x="247" y="271"/>
                        <a:pt x="247" y="269"/>
                        <a:pt x="248" y="267"/>
                      </a:cubicBezTo>
                      <a:cubicBezTo>
                        <a:pt x="250" y="261"/>
                        <a:pt x="253" y="255"/>
                        <a:pt x="256" y="250"/>
                      </a:cubicBezTo>
                      <a:lnTo>
                        <a:pt x="229" y="212"/>
                      </a:lnTo>
                      <a:lnTo>
                        <a:pt x="262" y="179"/>
                      </a:lnTo>
                      <a:lnTo>
                        <a:pt x="301" y="207"/>
                      </a:lnTo>
                      <a:cubicBezTo>
                        <a:pt x="309" y="203"/>
                        <a:pt x="316" y="200"/>
                        <a:pt x="324" y="198"/>
                      </a:cubicBezTo>
                      <a:lnTo>
                        <a:pt x="332" y="152"/>
                      </a:lnTo>
                      <a:lnTo>
                        <a:pt x="378" y="152"/>
                      </a:lnTo>
                      <a:lnTo>
                        <a:pt x="386" y="200"/>
                      </a:lnTo>
                      <a:cubicBezTo>
                        <a:pt x="388" y="201"/>
                        <a:pt x="390" y="201"/>
                        <a:pt x="391" y="201"/>
                      </a:cubicBezTo>
                      <a:cubicBezTo>
                        <a:pt x="397" y="204"/>
                        <a:pt x="403" y="207"/>
                        <a:pt x="409" y="210"/>
                      </a:cubicBezTo>
                      <a:lnTo>
                        <a:pt x="447" y="183"/>
                      </a:lnTo>
                      <a:lnTo>
                        <a:pt x="479" y="215"/>
                      </a:lnTo>
                      <a:lnTo>
                        <a:pt x="451" y="255"/>
                      </a:lnTo>
                      <a:cubicBezTo>
                        <a:pt x="455" y="262"/>
                        <a:pt x="458" y="270"/>
                        <a:pt x="460" y="278"/>
                      </a:cubicBezTo>
                      <a:lnTo>
                        <a:pt x="506" y="286"/>
                      </a:lnTo>
                      <a:lnTo>
                        <a:pt x="506" y="319"/>
                      </a:lnTo>
                      <a:lnTo>
                        <a:pt x="566" y="309"/>
                      </a:lnTo>
                      <a:cubicBezTo>
                        <a:pt x="567" y="306"/>
                        <a:pt x="568" y="303"/>
                        <a:pt x="569" y="301"/>
                      </a:cubicBezTo>
                      <a:cubicBezTo>
                        <a:pt x="572" y="291"/>
                        <a:pt x="577" y="282"/>
                        <a:pt x="582" y="273"/>
                      </a:cubicBezTo>
                      <a:lnTo>
                        <a:pt x="541" y="215"/>
                      </a:lnTo>
                      <a:lnTo>
                        <a:pt x="590" y="166"/>
                      </a:lnTo>
                      <a:lnTo>
                        <a:pt x="650" y="208"/>
                      </a:lnTo>
                      <a:cubicBezTo>
                        <a:pt x="662" y="202"/>
                        <a:pt x="674" y="197"/>
                        <a:pt x="687" y="194"/>
                      </a:cubicBezTo>
                      <a:lnTo>
                        <a:pt x="699" y="124"/>
                      </a:lnTo>
                      <a:lnTo>
                        <a:pt x="769" y="124"/>
                      </a:lnTo>
                      <a:lnTo>
                        <a:pt x="781" y="197"/>
                      </a:lnTo>
                      <a:cubicBezTo>
                        <a:pt x="784" y="197"/>
                        <a:pt x="787" y="198"/>
                        <a:pt x="789" y="199"/>
                      </a:cubicBezTo>
                      <a:cubicBezTo>
                        <a:pt x="799" y="203"/>
                        <a:pt x="808" y="207"/>
                        <a:pt x="817" y="212"/>
                      </a:cubicBezTo>
                      <a:lnTo>
                        <a:pt x="875" y="171"/>
                      </a:lnTo>
                      <a:lnTo>
                        <a:pt x="924" y="221"/>
                      </a:lnTo>
                      <a:lnTo>
                        <a:pt x="882" y="281"/>
                      </a:lnTo>
                      <a:cubicBezTo>
                        <a:pt x="888" y="292"/>
                        <a:pt x="893" y="305"/>
                        <a:pt x="896" y="317"/>
                      </a:cubicBezTo>
                      <a:lnTo>
                        <a:pt x="966" y="329"/>
                      </a:lnTo>
                      <a:lnTo>
                        <a:pt x="966" y="399"/>
                      </a:lnTo>
                      <a:lnTo>
                        <a:pt x="893" y="412"/>
                      </a:lnTo>
                      <a:cubicBezTo>
                        <a:pt x="892" y="414"/>
                        <a:pt x="892" y="417"/>
                        <a:pt x="891" y="420"/>
                      </a:cubicBezTo>
                      <a:cubicBezTo>
                        <a:pt x="887" y="430"/>
                        <a:pt x="882" y="439"/>
                        <a:pt x="877" y="447"/>
                      </a:cubicBezTo>
                      <a:lnTo>
                        <a:pt x="918" y="505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1" name="Clock3">
                <a:extLst>
                  <a:ext uri="{FF2B5EF4-FFF2-40B4-BE49-F238E27FC236}">
                    <a16:creationId xmlns:a16="http://schemas.microsoft.com/office/drawing/2014/main" id="{564070B0-8555-44C2-8F39-BC86DCD0987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 bwMode="auto">
              <a:xfrm>
                <a:off x="4746019" y="5462387"/>
                <a:ext cx="213012" cy="214003"/>
                <a:chOff x="135" y="135"/>
                <a:chExt cx="215" cy="216"/>
              </a:xfrm>
              <a:solidFill>
                <a:schemeClr val="bg1"/>
              </a:solidFill>
            </p:grpSpPr>
            <p:sp>
              <p:nvSpPr>
                <p:cNvPr id="444" name="Clock3">
                  <a:extLst>
                    <a:ext uri="{FF2B5EF4-FFF2-40B4-BE49-F238E27FC236}">
                      <a16:creationId xmlns:a16="http://schemas.microsoft.com/office/drawing/2014/main" id="{8D3C6754-6112-47C2-9745-0566B073F0F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33" y="135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5" name="Clock3">
                  <a:extLst>
                    <a:ext uri="{FF2B5EF4-FFF2-40B4-BE49-F238E27FC236}">
                      <a16:creationId xmlns:a16="http://schemas.microsoft.com/office/drawing/2014/main" id="{582B2363-824A-40E5-A296-2EB838BD74B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135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6" name="Clock3">
                  <a:extLst>
                    <a:ext uri="{FF2B5EF4-FFF2-40B4-BE49-F238E27FC236}">
                      <a16:creationId xmlns:a16="http://schemas.microsoft.com/office/drawing/2014/main" id="{8C772469-40C8-42C8-BAE5-56D61AF2BB8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233" y="331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7" name="Clock3">
                  <a:extLst>
                    <a:ext uri="{FF2B5EF4-FFF2-40B4-BE49-F238E27FC236}">
                      <a16:creationId xmlns:a16="http://schemas.microsoft.com/office/drawing/2014/main" id="{8B169E4B-7EC7-479A-9D68-823177498C9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330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54" name="Megaphone2">
                <a:extLst>
                  <a:ext uri="{FF2B5EF4-FFF2-40B4-BE49-F238E27FC236}">
                    <a16:creationId xmlns:a16="http://schemas.microsoft.com/office/drawing/2014/main" id="{B9E814DC-E64D-416F-A040-7AE80659C319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8152731" y="4614870"/>
                <a:ext cx="661" cy="0"/>
              </a:xfrm>
              <a:custGeom>
                <a:avLst/>
                <a:gdLst>
                  <a:gd name="T0" fmla="*/ 3 w 3"/>
                  <a:gd name="T1" fmla="*/ 0 h 1"/>
                  <a:gd name="T2" fmla="*/ 1 w 3"/>
                  <a:gd name="T3" fmla="*/ 0 h 1"/>
                  <a:gd name="T4" fmla="*/ 0 w 3"/>
                  <a:gd name="T5" fmla="*/ 1 h 1"/>
                  <a:gd name="T6" fmla="*/ 3 w 3"/>
                  <a:gd name="T7" fmla="*/ 0 h 1"/>
                  <a:gd name="T8" fmla="*/ 3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1" y="0"/>
                    </a:lnTo>
                    <a:cubicBezTo>
                      <a:pt x="1" y="0"/>
                      <a:pt x="1" y="0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Tools3">
                <a:extLst>
                  <a:ext uri="{FF2B5EF4-FFF2-40B4-BE49-F238E27FC236}">
                    <a16:creationId xmlns:a16="http://schemas.microsoft.com/office/drawing/2014/main" id="{43852344-5C85-46B3-9889-24C40B3C8D0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8441411" y="3297455"/>
                <a:ext cx="228804" cy="223592"/>
              </a:xfrm>
              <a:custGeom>
                <a:avLst/>
                <a:gdLst>
                  <a:gd name="T0" fmla="*/ 250 w 2000"/>
                  <a:gd name="T1" fmla="*/ 0 h 1950"/>
                  <a:gd name="T2" fmla="*/ 225 w 2000"/>
                  <a:gd name="T3" fmla="*/ 50 h 1950"/>
                  <a:gd name="T4" fmla="*/ 488 w 2000"/>
                  <a:gd name="T5" fmla="*/ 200 h 1950"/>
                  <a:gd name="T6" fmla="*/ 325 w 2000"/>
                  <a:gd name="T7" fmla="*/ 488 h 1950"/>
                  <a:gd name="T8" fmla="*/ 63 w 2000"/>
                  <a:gd name="T9" fmla="*/ 338 h 1950"/>
                  <a:gd name="T10" fmla="*/ 50 w 2000"/>
                  <a:gd name="T11" fmla="*/ 363 h 1950"/>
                  <a:gd name="T12" fmla="*/ 488 w 2000"/>
                  <a:gd name="T13" fmla="*/ 675 h 1950"/>
                  <a:gd name="T14" fmla="*/ 838 w 2000"/>
                  <a:gd name="T15" fmla="*/ 963 h 1950"/>
                  <a:gd name="T16" fmla="*/ 1038 w 2000"/>
                  <a:gd name="T17" fmla="*/ 763 h 1950"/>
                  <a:gd name="T18" fmla="*/ 713 w 2000"/>
                  <a:gd name="T19" fmla="*/ 375 h 1950"/>
                  <a:gd name="T20" fmla="*/ 250 w 2000"/>
                  <a:gd name="T21" fmla="*/ 0 h 1950"/>
                  <a:gd name="T22" fmla="*/ 1813 w 2000"/>
                  <a:gd name="T23" fmla="*/ 63 h 1950"/>
                  <a:gd name="T24" fmla="*/ 1563 w 2000"/>
                  <a:gd name="T25" fmla="*/ 238 h 1950"/>
                  <a:gd name="T26" fmla="*/ 1538 w 2000"/>
                  <a:gd name="T27" fmla="*/ 338 h 1950"/>
                  <a:gd name="T28" fmla="*/ 813 w 2000"/>
                  <a:gd name="T29" fmla="*/ 1063 h 1950"/>
                  <a:gd name="T30" fmla="*/ 713 w 2000"/>
                  <a:gd name="T31" fmla="*/ 1000 h 1950"/>
                  <a:gd name="T32" fmla="*/ 663 w 2000"/>
                  <a:gd name="T33" fmla="*/ 1050 h 1950"/>
                  <a:gd name="T34" fmla="*/ 413 w 2000"/>
                  <a:gd name="T35" fmla="*/ 1275 h 1950"/>
                  <a:gd name="T36" fmla="*/ 0 w 2000"/>
                  <a:gd name="T37" fmla="*/ 1688 h 1950"/>
                  <a:gd name="T38" fmla="*/ 263 w 2000"/>
                  <a:gd name="T39" fmla="*/ 1950 h 1950"/>
                  <a:gd name="T40" fmla="*/ 675 w 2000"/>
                  <a:gd name="T41" fmla="*/ 1538 h 1950"/>
                  <a:gd name="T42" fmla="*/ 900 w 2000"/>
                  <a:gd name="T43" fmla="*/ 1288 h 1950"/>
                  <a:gd name="T44" fmla="*/ 950 w 2000"/>
                  <a:gd name="T45" fmla="*/ 1238 h 1950"/>
                  <a:gd name="T46" fmla="*/ 888 w 2000"/>
                  <a:gd name="T47" fmla="*/ 1138 h 1950"/>
                  <a:gd name="T48" fmla="*/ 1613 w 2000"/>
                  <a:gd name="T49" fmla="*/ 413 h 1950"/>
                  <a:gd name="T50" fmla="*/ 1713 w 2000"/>
                  <a:gd name="T51" fmla="*/ 388 h 1950"/>
                  <a:gd name="T52" fmla="*/ 1888 w 2000"/>
                  <a:gd name="T53" fmla="*/ 138 h 1950"/>
                  <a:gd name="T54" fmla="*/ 1813 w 2000"/>
                  <a:gd name="T55" fmla="*/ 63 h 1950"/>
                  <a:gd name="T56" fmla="*/ 1188 w 2000"/>
                  <a:gd name="T57" fmla="*/ 913 h 1950"/>
                  <a:gd name="T58" fmla="*/ 988 w 2000"/>
                  <a:gd name="T59" fmla="*/ 1113 h 1950"/>
                  <a:gd name="T60" fmla="*/ 1338 w 2000"/>
                  <a:gd name="T61" fmla="*/ 1525 h 1950"/>
                  <a:gd name="T62" fmla="*/ 1800 w 2000"/>
                  <a:gd name="T63" fmla="*/ 1900 h 1950"/>
                  <a:gd name="T64" fmla="*/ 1825 w 2000"/>
                  <a:gd name="T65" fmla="*/ 1850 h 1950"/>
                  <a:gd name="T66" fmla="*/ 1563 w 2000"/>
                  <a:gd name="T67" fmla="*/ 1700 h 1950"/>
                  <a:gd name="T68" fmla="*/ 1725 w 2000"/>
                  <a:gd name="T69" fmla="*/ 1413 h 1950"/>
                  <a:gd name="T70" fmla="*/ 1988 w 2000"/>
                  <a:gd name="T71" fmla="*/ 1563 h 1950"/>
                  <a:gd name="T72" fmla="*/ 2000 w 2000"/>
                  <a:gd name="T73" fmla="*/ 1538 h 1950"/>
                  <a:gd name="T74" fmla="*/ 1563 w 2000"/>
                  <a:gd name="T75" fmla="*/ 1225 h 1950"/>
                  <a:gd name="T76" fmla="*/ 1188 w 2000"/>
                  <a:gd name="T77" fmla="*/ 913 h 1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00" h="1950">
                    <a:moveTo>
                      <a:pt x="250" y="0"/>
                    </a:moveTo>
                    <a:lnTo>
                      <a:pt x="225" y="50"/>
                    </a:lnTo>
                    <a:lnTo>
                      <a:pt x="488" y="200"/>
                    </a:lnTo>
                    <a:cubicBezTo>
                      <a:pt x="488" y="325"/>
                      <a:pt x="438" y="425"/>
                      <a:pt x="325" y="488"/>
                    </a:cubicBezTo>
                    <a:lnTo>
                      <a:pt x="63" y="338"/>
                    </a:lnTo>
                    <a:lnTo>
                      <a:pt x="50" y="363"/>
                    </a:lnTo>
                    <a:cubicBezTo>
                      <a:pt x="113" y="550"/>
                      <a:pt x="238" y="675"/>
                      <a:pt x="488" y="675"/>
                    </a:cubicBezTo>
                    <a:cubicBezTo>
                      <a:pt x="550" y="675"/>
                      <a:pt x="738" y="863"/>
                      <a:pt x="838" y="963"/>
                    </a:cubicBezTo>
                    <a:lnTo>
                      <a:pt x="1038" y="763"/>
                    </a:lnTo>
                    <a:cubicBezTo>
                      <a:pt x="938" y="663"/>
                      <a:pt x="713" y="438"/>
                      <a:pt x="713" y="375"/>
                    </a:cubicBezTo>
                    <a:cubicBezTo>
                      <a:pt x="713" y="150"/>
                      <a:pt x="650" y="0"/>
                      <a:pt x="250" y="0"/>
                    </a:cubicBezTo>
                    <a:close/>
                    <a:moveTo>
                      <a:pt x="1813" y="63"/>
                    </a:moveTo>
                    <a:lnTo>
                      <a:pt x="1563" y="238"/>
                    </a:lnTo>
                    <a:lnTo>
                      <a:pt x="1538" y="338"/>
                    </a:lnTo>
                    <a:lnTo>
                      <a:pt x="813" y="1063"/>
                    </a:lnTo>
                    <a:lnTo>
                      <a:pt x="713" y="1000"/>
                    </a:lnTo>
                    <a:lnTo>
                      <a:pt x="663" y="1050"/>
                    </a:lnTo>
                    <a:cubicBezTo>
                      <a:pt x="663" y="1200"/>
                      <a:pt x="488" y="1275"/>
                      <a:pt x="413" y="1275"/>
                    </a:cubicBezTo>
                    <a:lnTo>
                      <a:pt x="0" y="1688"/>
                    </a:lnTo>
                    <a:cubicBezTo>
                      <a:pt x="0" y="1813"/>
                      <a:pt x="138" y="1950"/>
                      <a:pt x="263" y="1950"/>
                    </a:cubicBezTo>
                    <a:lnTo>
                      <a:pt x="675" y="1538"/>
                    </a:lnTo>
                    <a:cubicBezTo>
                      <a:pt x="675" y="1463"/>
                      <a:pt x="750" y="1288"/>
                      <a:pt x="900" y="1288"/>
                    </a:cubicBezTo>
                    <a:lnTo>
                      <a:pt x="950" y="1238"/>
                    </a:lnTo>
                    <a:lnTo>
                      <a:pt x="888" y="1138"/>
                    </a:lnTo>
                    <a:lnTo>
                      <a:pt x="1613" y="413"/>
                    </a:lnTo>
                    <a:lnTo>
                      <a:pt x="1713" y="388"/>
                    </a:lnTo>
                    <a:lnTo>
                      <a:pt x="1888" y="138"/>
                    </a:lnTo>
                    <a:lnTo>
                      <a:pt x="1813" y="63"/>
                    </a:lnTo>
                    <a:close/>
                    <a:moveTo>
                      <a:pt x="1188" y="913"/>
                    </a:moveTo>
                    <a:lnTo>
                      <a:pt x="988" y="1113"/>
                    </a:lnTo>
                    <a:cubicBezTo>
                      <a:pt x="1138" y="1263"/>
                      <a:pt x="1338" y="1463"/>
                      <a:pt x="1338" y="1525"/>
                    </a:cubicBezTo>
                    <a:cubicBezTo>
                      <a:pt x="1338" y="1750"/>
                      <a:pt x="1400" y="1900"/>
                      <a:pt x="1800" y="1900"/>
                    </a:cubicBezTo>
                    <a:lnTo>
                      <a:pt x="1825" y="1850"/>
                    </a:lnTo>
                    <a:lnTo>
                      <a:pt x="1563" y="1700"/>
                    </a:lnTo>
                    <a:cubicBezTo>
                      <a:pt x="1563" y="1575"/>
                      <a:pt x="1613" y="1475"/>
                      <a:pt x="1725" y="1413"/>
                    </a:cubicBezTo>
                    <a:lnTo>
                      <a:pt x="1988" y="1563"/>
                    </a:lnTo>
                    <a:lnTo>
                      <a:pt x="2000" y="1538"/>
                    </a:lnTo>
                    <a:cubicBezTo>
                      <a:pt x="1938" y="1350"/>
                      <a:pt x="1813" y="1225"/>
                      <a:pt x="1563" y="1225"/>
                    </a:cubicBezTo>
                    <a:cubicBezTo>
                      <a:pt x="1500" y="1225"/>
                      <a:pt x="1338" y="1063"/>
                      <a:pt x="1188" y="913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58" name="Clipboard6">
                <a:extLst>
                  <a:ext uri="{FF2B5EF4-FFF2-40B4-BE49-F238E27FC236}">
                    <a16:creationId xmlns:a16="http://schemas.microsoft.com/office/drawing/2014/main" id="{F134DD79-12C3-424A-A357-17E4CE59410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5"/>
                </p:custDataLst>
              </p:nvPr>
            </p:nvGrpSpPr>
            <p:grpSpPr bwMode="auto">
              <a:xfrm>
                <a:off x="7287850" y="5502449"/>
                <a:ext cx="339392" cy="500693"/>
                <a:chOff x="3141" y="1591"/>
                <a:chExt cx="4147" cy="4495"/>
              </a:xfrm>
              <a:solidFill>
                <a:schemeClr val="bg1"/>
              </a:solidFill>
            </p:grpSpPr>
            <p:sp>
              <p:nvSpPr>
                <p:cNvPr id="459" name="Rectangle 260">
                  <a:extLst>
                    <a:ext uri="{FF2B5EF4-FFF2-40B4-BE49-F238E27FC236}">
                      <a16:creationId xmlns:a16="http://schemas.microsoft.com/office/drawing/2014/main" id="{B7583EF1-429E-4DDE-82CE-6DD07F88D2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591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1" name="Rectangle 262">
                  <a:extLst>
                    <a:ext uri="{FF2B5EF4-FFF2-40B4-BE49-F238E27FC236}">
                      <a16:creationId xmlns:a16="http://schemas.microsoft.com/office/drawing/2014/main" id="{DEB5A31D-5DA0-4210-A8EF-36BA9B4EB9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653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2" name="Rectangle 263">
                  <a:extLst>
                    <a:ext uri="{FF2B5EF4-FFF2-40B4-BE49-F238E27FC236}">
                      <a16:creationId xmlns:a16="http://schemas.microsoft.com/office/drawing/2014/main" id="{903BB49E-178E-447E-A047-50B4BA7E7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66" y="5954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3" name="Rectangle 264">
                  <a:extLst>
                    <a:ext uri="{FF2B5EF4-FFF2-40B4-BE49-F238E27FC236}">
                      <a16:creationId xmlns:a16="http://schemas.microsoft.com/office/drawing/2014/main" id="{85953873-2CEF-4482-B75F-EBE1691A51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386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4" name="Rectangle 265">
                  <a:extLst>
                    <a:ext uri="{FF2B5EF4-FFF2-40B4-BE49-F238E27FC236}">
                      <a16:creationId xmlns:a16="http://schemas.microsoft.com/office/drawing/2014/main" id="{1C47541B-6ED6-4BED-A57F-99C8256B4E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120"/>
                  <a:ext cx="1322" cy="13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66" name="Handshake2">
                <a:extLst>
                  <a:ext uri="{FF2B5EF4-FFF2-40B4-BE49-F238E27FC236}">
                    <a16:creationId xmlns:a16="http://schemas.microsoft.com/office/drawing/2014/main" id="{B064C709-4878-4F2A-BE84-7C5A6A66E37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 bwMode="auto">
              <a:xfrm>
                <a:off x="5909904" y="864284"/>
                <a:ext cx="400471" cy="254169"/>
                <a:chOff x="73" y="153"/>
                <a:chExt cx="323" cy="205"/>
              </a:xfrm>
              <a:solidFill>
                <a:schemeClr val="bg1"/>
              </a:solidFill>
            </p:grpSpPr>
            <p:sp>
              <p:nvSpPr>
                <p:cNvPr id="467" name="Handshake2">
                  <a:extLst>
                    <a:ext uri="{FF2B5EF4-FFF2-40B4-BE49-F238E27FC236}">
                      <a16:creationId xmlns:a16="http://schemas.microsoft.com/office/drawing/2014/main" id="{466061FA-69BC-47A6-A848-3310C45084A1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396" y="250"/>
                  <a:ext cx="0" cy="1"/>
                </a:xfrm>
                <a:custGeom>
                  <a:avLst/>
                  <a:gdLst>
                    <a:gd name="T0" fmla="*/ 0 h 2"/>
                    <a:gd name="T1" fmla="*/ 1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8" name="Handshake2">
                  <a:extLst>
                    <a:ext uri="{FF2B5EF4-FFF2-40B4-BE49-F238E27FC236}">
                      <a16:creationId xmlns:a16="http://schemas.microsoft.com/office/drawing/2014/main" id="{19152CEB-E81B-4FB3-B8C9-20D026520E5C}"/>
                    </a:ext>
                  </a:extLst>
                </p:cNvPr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68" y="154"/>
                  <a:ext cx="0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9" name="Handshake2">
                  <a:extLst>
                    <a:ext uri="{FF2B5EF4-FFF2-40B4-BE49-F238E27FC236}">
                      <a16:creationId xmlns:a16="http://schemas.microsoft.com/office/drawing/2014/main" id="{B8F56536-66B3-4B1C-9469-1347AE957167}"/>
                    </a:ext>
                  </a:extLst>
                </p:cNvPr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335" y="263"/>
                  <a:ext cx="19" cy="24"/>
                </a:xfrm>
                <a:custGeom>
                  <a:avLst/>
                  <a:gdLst>
                    <a:gd name="T0" fmla="*/ 1 w 49"/>
                    <a:gd name="T1" fmla="*/ 39 h 62"/>
                    <a:gd name="T2" fmla="*/ 31 w 49"/>
                    <a:gd name="T3" fmla="*/ 1 h 62"/>
                    <a:gd name="T4" fmla="*/ 33 w 49"/>
                    <a:gd name="T5" fmla="*/ 0 h 62"/>
                    <a:gd name="T6" fmla="*/ 9 w 49"/>
                    <a:gd name="T7" fmla="*/ 62 h 62"/>
                    <a:gd name="T8" fmla="*/ 1 w 49"/>
                    <a:gd name="T9" fmla="*/ 3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2">
                      <a:moveTo>
                        <a:pt x="1" y="39"/>
                      </a:moveTo>
                      <a:cubicBezTo>
                        <a:pt x="0" y="22"/>
                        <a:pt x="14" y="10"/>
                        <a:pt x="31" y="1"/>
                      </a:cubicBezTo>
                      <a:cubicBezTo>
                        <a:pt x="32" y="1"/>
                        <a:pt x="33" y="0"/>
                        <a:pt x="33" y="0"/>
                      </a:cubicBezTo>
                      <a:cubicBezTo>
                        <a:pt x="49" y="22"/>
                        <a:pt x="36" y="55"/>
                        <a:pt x="9" y="62"/>
                      </a:cubicBezTo>
                      <a:cubicBezTo>
                        <a:pt x="9" y="62"/>
                        <a:pt x="2" y="45"/>
                        <a:pt x="1" y="39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0" name="Handshake2">
                  <a:extLst>
                    <a:ext uri="{FF2B5EF4-FFF2-40B4-BE49-F238E27FC236}">
                      <a16:creationId xmlns:a16="http://schemas.microsoft.com/office/drawing/2014/main" id="{8C98A2D9-4DF1-459B-A5A6-4F8A8217C2F9}"/>
                    </a:ext>
                  </a:extLst>
                </p:cNvPr>
                <p:cNvSpPr>
                  <a:spLocks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03" y="265"/>
                  <a:ext cx="32" cy="48"/>
                </a:xfrm>
                <a:custGeom>
                  <a:avLst/>
                  <a:gdLst>
                    <a:gd name="T0" fmla="*/ 42 w 87"/>
                    <a:gd name="T1" fmla="*/ 117 h 127"/>
                    <a:gd name="T2" fmla="*/ 1 w 87"/>
                    <a:gd name="T3" fmla="*/ 54 h 127"/>
                    <a:gd name="T4" fmla="*/ 12 w 87"/>
                    <a:gd name="T5" fmla="*/ 26 h 127"/>
                    <a:gd name="T6" fmla="*/ 69 w 87"/>
                    <a:gd name="T7" fmla="*/ 44 h 127"/>
                    <a:gd name="T8" fmla="*/ 87 w 87"/>
                    <a:gd name="T9" fmla="*/ 88 h 127"/>
                    <a:gd name="T10" fmla="*/ 42 w 87"/>
                    <a:gd name="T11" fmla="*/ 117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127">
                      <a:moveTo>
                        <a:pt x="42" y="117"/>
                      </a:moveTo>
                      <a:cubicBezTo>
                        <a:pt x="25" y="109"/>
                        <a:pt x="3" y="74"/>
                        <a:pt x="1" y="54"/>
                      </a:cubicBezTo>
                      <a:cubicBezTo>
                        <a:pt x="0" y="46"/>
                        <a:pt x="2" y="33"/>
                        <a:pt x="12" y="26"/>
                      </a:cubicBezTo>
                      <a:cubicBezTo>
                        <a:pt x="45" y="0"/>
                        <a:pt x="62" y="30"/>
                        <a:pt x="69" y="44"/>
                      </a:cubicBezTo>
                      <a:cubicBezTo>
                        <a:pt x="69" y="44"/>
                        <a:pt x="87" y="76"/>
                        <a:pt x="87" y="88"/>
                      </a:cubicBezTo>
                      <a:cubicBezTo>
                        <a:pt x="87" y="106"/>
                        <a:pt x="60" y="127"/>
                        <a:pt x="42" y="11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1" name="Handshake2">
                  <a:extLst>
                    <a:ext uri="{FF2B5EF4-FFF2-40B4-BE49-F238E27FC236}">
                      <a16:creationId xmlns:a16="http://schemas.microsoft.com/office/drawing/2014/main" id="{048174F2-5AD5-4A96-AC7F-B8FDB2E8FC40}"/>
                    </a:ext>
                  </a:extLst>
                </p:cNvPr>
                <p:cNvSpPr>
                  <a:spLocks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92" y="278"/>
                  <a:ext cx="2" cy="4"/>
                </a:xfrm>
                <a:custGeom>
                  <a:avLst/>
                  <a:gdLst>
                    <a:gd name="T0" fmla="*/ 4 w 4"/>
                    <a:gd name="T1" fmla="*/ 0 h 12"/>
                    <a:gd name="T2" fmla="*/ 0 w 4"/>
                    <a:gd name="T3" fmla="*/ 12 h 12"/>
                    <a:gd name="T4" fmla="*/ 4 w 4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2">
                      <a:moveTo>
                        <a:pt x="4" y="0"/>
                      </a:moveTo>
                      <a:cubicBezTo>
                        <a:pt x="2" y="5"/>
                        <a:pt x="2" y="9"/>
                        <a:pt x="0" y="12"/>
                      </a:cubicBezTo>
                      <a:cubicBezTo>
                        <a:pt x="0" y="8"/>
                        <a:pt x="2" y="5"/>
                        <a:pt x="4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2" name="Handshake2">
                  <a:extLst>
                    <a:ext uri="{FF2B5EF4-FFF2-40B4-BE49-F238E27FC236}">
                      <a16:creationId xmlns:a16="http://schemas.microsoft.com/office/drawing/2014/main" id="{525FB0A1-FCCC-45C0-999A-577779D269B9}"/>
                    </a:ext>
                  </a:extLst>
                </p:cNvPr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288" y="282"/>
                  <a:ext cx="4" cy="1"/>
                </a:xfrm>
                <a:custGeom>
                  <a:avLst/>
                  <a:gdLst>
                    <a:gd name="T0" fmla="*/ 11 w 11"/>
                    <a:gd name="T1" fmla="*/ 2 h 2"/>
                    <a:gd name="T2" fmla="*/ 0 w 11"/>
                    <a:gd name="T3" fmla="*/ 0 h 2"/>
                    <a:gd name="T4" fmla="*/ 11 w 1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" h="2">
                      <a:moveTo>
                        <a:pt x="11" y="2"/>
                      </a:moveTo>
                      <a:cubicBezTo>
                        <a:pt x="8" y="2"/>
                        <a:pt x="5" y="1"/>
                        <a:pt x="0" y="0"/>
                      </a:cubicBezTo>
                      <a:cubicBezTo>
                        <a:pt x="6" y="0"/>
                        <a:pt x="10" y="1"/>
                        <a:pt x="11" y="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3" name="Handshake2">
                  <a:extLst>
                    <a:ext uri="{FF2B5EF4-FFF2-40B4-BE49-F238E27FC236}">
                      <a16:creationId xmlns:a16="http://schemas.microsoft.com/office/drawing/2014/main" id="{88DB3EBE-BC75-4F4F-915D-55D3890FE868}"/>
                    </a:ext>
                  </a:extLst>
                </p:cNvPr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73" y="153"/>
                  <a:ext cx="223" cy="139"/>
                </a:xfrm>
                <a:custGeom>
                  <a:avLst/>
                  <a:gdLst>
                    <a:gd name="T0" fmla="*/ 578 w 595"/>
                    <a:gd name="T1" fmla="*/ 145 h 371"/>
                    <a:gd name="T2" fmla="*/ 404 w 595"/>
                    <a:gd name="T3" fmla="*/ 96 h 371"/>
                    <a:gd name="T4" fmla="*/ 201 w 595"/>
                    <a:gd name="T5" fmla="*/ 264 h 371"/>
                    <a:gd name="T6" fmla="*/ 123 w 595"/>
                    <a:gd name="T7" fmla="*/ 365 h 371"/>
                    <a:gd name="T8" fmla="*/ 42 w 595"/>
                    <a:gd name="T9" fmla="*/ 353 h 371"/>
                    <a:gd name="T10" fmla="*/ 0 w 595"/>
                    <a:gd name="T11" fmla="*/ 342 h 371"/>
                    <a:gd name="T12" fmla="*/ 23 w 595"/>
                    <a:gd name="T13" fmla="*/ 279 h 371"/>
                    <a:gd name="T14" fmla="*/ 104 w 595"/>
                    <a:gd name="T15" fmla="*/ 76 h 371"/>
                    <a:gd name="T16" fmla="*/ 125 w 595"/>
                    <a:gd name="T17" fmla="*/ 86 h 371"/>
                    <a:gd name="T18" fmla="*/ 290 w 595"/>
                    <a:gd name="T19" fmla="*/ 86 h 371"/>
                    <a:gd name="T20" fmla="*/ 416 w 595"/>
                    <a:gd name="T21" fmla="*/ 6 h 371"/>
                    <a:gd name="T22" fmla="*/ 578 w 595"/>
                    <a:gd name="T23" fmla="*/ 145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95" h="371">
                      <a:moveTo>
                        <a:pt x="578" y="145"/>
                      </a:moveTo>
                      <a:cubicBezTo>
                        <a:pt x="553" y="208"/>
                        <a:pt x="434" y="81"/>
                        <a:pt x="404" y="96"/>
                      </a:cubicBezTo>
                      <a:cubicBezTo>
                        <a:pt x="382" y="106"/>
                        <a:pt x="218" y="250"/>
                        <a:pt x="201" y="264"/>
                      </a:cubicBezTo>
                      <a:cubicBezTo>
                        <a:pt x="116" y="336"/>
                        <a:pt x="128" y="363"/>
                        <a:pt x="123" y="365"/>
                      </a:cubicBezTo>
                      <a:cubicBezTo>
                        <a:pt x="124" y="364"/>
                        <a:pt x="101" y="371"/>
                        <a:pt x="42" y="353"/>
                      </a:cubicBezTo>
                      <a:cubicBezTo>
                        <a:pt x="27" y="348"/>
                        <a:pt x="13" y="344"/>
                        <a:pt x="0" y="342"/>
                      </a:cubicBezTo>
                      <a:cubicBezTo>
                        <a:pt x="7" y="321"/>
                        <a:pt x="14" y="300"/>
                        <a:pt x="23" y="279"/>
                      </a:cubicBezTo>
                      <a:cubicBezTo>
                        <a:pt x="49" y="216"/>
                        <a:pt x="75" y="142"/>
                        <a:pt x="104" y="76"/>
                      </a:cubicBezTo>
                      <a:cubicBezTo>
                        <a:pt x="111" y="79"/>
                        <a:pt x="118" y="83"/>
                        <a:pt x="125" y="86"/>
                      </a:cubicBezTo>
                      <a:cubicBezTo>
                        <a:pt x="177" y="111"/>
                        <a:pt x="241" y="143"/>
                        <a:pt x="290" y="86"/>
                      </a:cubicBezTo>
                      <a:cubicBezTo>
                        <a:pt x="318" y="54"/>
                        <a:pt x="371" y="11"/>
                        <a:pt x="416" y="6"/>
                      </a:cubicBezTo>
                      <a:cubicBezTo>
                        <a:pt x="454" y="0"/>
                        <a:pt x="595" y="120"/>
                        <a:pt x="578" y="145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4" name="Handshake2">
                  <a:extLst>
                    <a:ext uri="{FF2B5EF4-FFF2-40B4-BE49-F238E27FC236}">
                      <a16:creationId xmlns:a16="http://schemas.microsoft.com/office/drawing/2014/main" id="{20DAAD72-B054-4279-854B-AA6FF7F384C2}"/>
                    </a:ext>
                  </a:extLst>
                </p:cNvPr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275" y="290"/>
                  <a:ext cx="38" cy="42"/>
                </a:xfrm>
                <a:custGeom>
                  <a:avLst/>
                  <a:gdLst>
                    <a:gd name="T0" fmla="*/ 13 w 102"/>
                    <a:gd name="T1" fmla="*/ 12 h 112"/>
                    <a:gd name="T2" fmla="*/ 49 w 102"/>
                    <a:gd name="T3" fmla="*/ 5 h 112"/>
                    <a:gd name="T4" fmla="*/ 96 w 102"/>
                    <a:gd name="T5" fmla="*/ 59 h 112"/>
                    <a:gd name="T6" fmla="*/ 45 w 102"/>
                    <a:gd name="T7" fmla="*/ 101 h 112"/>
                    <a:gd name="T8" fmla="*/ 6 w 102"/>
                    <a:gd name="T9" fmla="*/ 61 h 112"/>
                    <a:gd name="T10" fmla="*/ 13 w 102"/>
                    <a:gd name="T11" fmla="*/ 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112">
                      <a:moveTo>
                        <a:pt x="13" y="12"/>
                      </a:moveTo>
                      <a:cubicBezTo>
                        <a:pt x="27" y="0"/>
                        <a:pt x="41" y="1"/>
                        <a:pt x="49" y="5"/>
                      </a:cubicBezTo>
                      <a:cubicBezTo>
                        <a:pt x="74" y="15"/>
                        <a:pt x="96" y="59"/>
                        <a:pt x="96" y="59"/>
                      </a:cubicBezTo>
                      <a:cubicBezTo>
                        <a:pt x="102" y="89"/>
                        <a:pt x="72" y="112"/>
                        <a:pt x="45" y="101"/>
                      </a:cubicBezTo>
                      <a:cubicBezTo>
                        <a:pt x="32" y="95"/>
                        <a:pt x="12" y="73"/>
                        <a:pt x="6" y="61"/>
                      </a:cubicBezTo>
                      <a:cubicBezTo>
                        <a:pt x="1" y="50"/>
                        <a:pt x="0" y="22"/>
                        <a:pt x="13" y="1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5" name="Handshake2">
                  <a:extLst>
                    <a:ext uri="{FF2B5EF4-FFF2-40B4-BE49-F238E27FC236}">
                      <a16:creationId xmlns:a16="http://schemas.microsoft.com/office/drawing/2014/main" id="{B2D088B2-9135-46A1-A344-1130FFCAE0E5}"/>
                    </a:ext>
                  </a:extLst>
                </p:cNvPr>
                <p:cNvSpPr>
                  <a:spLocks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257" y="316"/>
                  <a:ext cx="34" cy="37"/>
                </a:xfrm>
                <a:custGeom>
                  <a:avLst/>
                  <a:gdLst>
                    <a:gd name="T0" fmla="*/ 81 w 90"/>
                    <a:gd name="T1" fmla="*/ 51 h 99"/>
                    <a:gd name="T2" fmla="*/ 17 w 90"/>
                    <a:gd name="T3" fmla="*/ 84 h 99"/>
                    <a:gd name="T4" fmla="*/ 17 w 90"/>
                    <a:gd name="T5" fmla="*/ 84 h 99"/>
                    <a:gd name="T6" fmla="*/ 15 w 90"/>
                    <a:gd name="T7" fmla="*/ 81 h 99"/>
                    <a:gd name="T8" fmla="*/ 6 w 90"/>
                    <a:gd name="T9" fmla="*/ 61 h 99"/>
                    <a:gd name="T10" fmla="*/ 21 w 90"/>
                    <a:gd name="T11" fmla="*/ 19 h 99"/>
                    <a:gd name="T12" fmla="*/ 81 w 90"/>
                    <a:gd name="T13" fmla="*/ 51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" h="99">
                      <a:moveTo>
                        <a:pt x="81" y="51"/>
                      </a:moveTo>
                      <a:cubicBezTo>
                        <a:pt x="90" y="75"/>
                        <a:pt x="54" y="99"/>
                        <a:pt x="17" y="84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6" y="84"/>
                        <a:pt x="16" y="82"/>
                        <a:pt x="15" y="81"/>
                      </a:cubicBezTo>
                      <a:cubicBezTo>
                        <a:pt x="13" y="76"/>
                        <a:pt x="6" y="67"/>
                        <a:pt x="6" y="61"/>
                      </a:cubicBezTo>
                      <a:cubicBezTo>
                        <a:pt x="0" y="43"/>
                        <a:pt x="12" y="28"/>
                        <a:pt x="21" y="19"/>
                      </a:cubicBezTo>
                      <a:cubicBezTo>
                        <a:pt x="37" y="0"/>
                        <a:pt x="76" y="36"/>
                        <a:pt x="81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6" name="Handshake2">
                  <a:extLst>
                    <a:ext uri="{FF2B5EF4-FFF2-40B4-BE49-F238E27FC236}">
                      <a16:creationId xmlns:a16="http://schemas.microsoft.com/office/drawing/2014/main" id="{1D49B845-768A-4C46-BA67-3A487C0954EE}"/>
                    </a:ext>
                  </a:extLst>
                </p:cNvPr>
                <p:cNvSpPr>
                  <a:spLocks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115" y="158"/>
                  <a:ext cx="274" cy="200"/>
                </a:xfrm>
                <a:custGeom>
                  <a:avLst/>
                  <a:gdLst>
                    <a:gd name="T0" fmla="*/ 372 w 731"/>
                    <a:gd name="T1" fmla="*/ 421 h 531"/>
                    <a:gd name="T2" fmla="*/ 357 w 731"/>
                    <a:gd name="T3" fmla="*/ 463 h 531"/>
                    <a:gd name="T4" fmla="*/ 361 w 731"/>
                    <a:gd name="T5" fmla="*/ 485 h 531"/>
                    <a:gd name="T6" fmla="*/ 288 w 731"/>
                    <a:gd name="T7" fmla="*/ 467 h 531"/>
                    <a:gd name="T8" fmla="*/ 386 w 731"/>
                    <a:gd name="T9" fmla="*/ 339 h 531"/>
                    <a:gd name="T10" fmla="*/ 268 w 731"/>
                    <a:gd name="T11" fmla="*/ 451 h 531"/>
                    <a:gd name="T12" fmla="*/ 205 w 731"/>
                    <a:gd name="T13" fmla="*/ 457 h 531"/>
                    <a:gd name="T14" fmla="*/ 195 w 731"/>
                    <a:gd name="T15" fmla="*/ 436 h 531"/>
                    <a:gd name="T16" fmla="*/ 342 w 731"/>
                    <a:gd name="T17" fmla="*/ 290 h 531"/>
                    <a:gd name="T18" fmla="*/ 181 w 731"/>
                    <a:gd name="T19" fmla="*/ 420 h 531"/>
                    <a:gd name="T20" fmla="*/ 155 w 731"/>
                    <a:gd name="T21" fmla="*/ 424 h 531"/>
                    <a:gd name="T22" fmla="*/ 127 w 731"/>
                    <a:gd name="T23" fmla="*/ 415 h 531"/>
                    <a:gd name="T24" fmla="*/ 124 w 731"/>
                    <a:gd name="T25" fmla="*/ 376 h 531"/>
                    <a:gd name="T26" fmla="*/ 271 w 731"/>
                    <a:gd name="T27" fmla="*/ 237 h 531"/>
                    <a:gd name="T28" fmla="*/ 192 w 731"/>
                    <a:gd name="T29" fmla="*/ 303 h 531"/>
                    <a:gd name="T30" fmla="*/ 78 w 731"/>
                    <a:gd name="T31" fmla="*/ 376 h 531"/>
                    <a:gd name="T32" fmla="*/ 43 w 731"/>
                    <a:gd name="T33" fmla="*/ 369 h 531"/>
                    <a:gd name="T34" fmla="*/ 35 w 731"/>
                    <a:gd name="T35" fmla="*/ 359 h 531"/>
                    <a:gd name="T36" fmla="*/ 291 w 731"/>
                    <a:gd name="T37" fmla="*/ 104 h 531"/>
                    <a:gd name="T38" fmla="*/ 432 w 731"/>
                    <a:gd name="T39" fmla="*/ 172 h 531"/>
                    <a:gd name="T40" fmla="*/ 490 w 731"/>
                    <a:gd name="T41" fmla="*/ 130 h 531"/>
                    <a:gd name="T42" fmla="*/ 384 w 731"/>
                    <a:gd name="T43" fmla="*/ 9 h 531"/>
                    <a:gd name="T44" fmla="*/ 500 w 731"/>
                    <a:gd name="T45" fmla="*/ 18 h 531"/>
                    <a:gd name="T46" fmla="*/ 573 w 731"/>
                    <a:gd name="T47" fmla="*/ 21 h 531"/>
                    <a:gd name="T48" fmla="*/ 665 w 731"/>
                    <a:gd name="T49" fmla="*/ 0 h 531"/>
                    <a:gd name="T50" fmla="*/ 725 w 731"/>
                    <a:gd name="T51" fmla="*/ 238 h 531"/>
                    <a:gd name="T52" fmla="*/ 597 w 731"/>
                    <a:gd name="T53" fmla="*/ 255 h 531"/>
                    <a:gd name="T54" fmla="*/ 560 w 731"/>
                    <a:gd name="T55" fmla="*/ 293 h 531"/>
                    <a:gd name="T56" fmla="*/ 487 w 731"/>
                    <a:gd name="T57" fmla="*/ 285 h 531"/>
                    <a:gd name="T58" fmla="*/ 471 w 731"/>
                    <a:gd name="T59" fmla="*/ 320 h 531"/>
                    <a:gd name="T60" fmla="*/ 468 w 731"/>
                    <a:gd name="T61" fmla="*/ 332 h 531"/>
                    <a:gd name="T62" fmla="*/ 468 w 731"/>
                    <a:gd name="T63" fmla="*/ 332 h 531"/>
                    <a:gd name="T64" fmla="*/ 468 w 731"/>
                    <a:gd name="T65" fmla="*/ 333 h 531"/>
                    <a:gd name="T66" fmla="*/ 457 w 731"/>
                    <a:gd name="T67" fmla="*/ 331 h 531"/>
                    <a:gd name="T68" fmla="*/ 457 w 731"/>
                    <a:gd name="T69" fmla="*/ 331 h 531"/>
                    <a:gd name="T70" fmla="*/ 456 w 731"/>
                    <a:gd name="T71" fmla="*/ 331 h 531"/>
                    <a:gd name="T72" fmla="*/ 415 w 731"/>
                    <a:gd name="T73" fmla="*/ 338 h 531"/>
                    <a:gd name="T74" fmla="*/ 405 w 731"/>
                    <a:gd name="T75" fmla="*/ 391 h 531"/>
                    <a:gd name="T76" fmla="*/ 408 w 731"/>
                    <a:gd name="T77" fmla="*/ 409 h 531"/>
                    <a:gd name="T78" fmla="*/ 372 w 731"/>
                    <a:gd name="T79" fmla="*/ 42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31" h="531">
                      <a:moveTo>
                        <a:pt x="372" y="421"/>
                      </a:moveTo>
                      <a:cubicBezTo>
                        <a:pt x="356" y="436"/>
                        <a:pt x="356" y="445"/>
                        <a:pt x="357" y="463"/>
                      </a:cubicBezTo>
                      <a:cubicBezTo>
                        <a:pt x="357" y="467"/>
                        <a:pt x="360" y="481"/>
                        <a:pt x="361" y="485"/>
                      </a:cubicBezTo>
                      <a:cubicBezTo>
                        <a:pt x="285" y="531"/>
                        <a:pt x="286" y="468"/>
                        <a:pt x="288" y="467"/>
                      </a:cubicBezTo>
                      <a:cubicBezTo>
                        <a:pt x="373" y="386"/>
                        <a:pt x="386" y="339"/>
                        <a:pt x="386" y="339"/>
                      </a:cubicBezTo>
                      <a:cubicBezTo>
                        <a:pt x="380" y="342"/>
                        <a:pt x="302" y="434"/>
                        <a:pt x="268" y="451"/>
                      </a:cubicBezTo>
                      <a:cubicBezTo>
                        <a:pt x="234" y="468"/>
                        <a:pt x="218" y="464"/>
                        <a:pt x="205" y="457"/>
                      </a:cubicBezTo>
                      <a:cubicBezTo>
                        <a:pt x="200" y="453"/>
                        <a:pt x="196" y="446"/>
                        <a:pt x="195" y="436"/>
                      </a:cubicBezTo>
                      <a:cubicBezTo>
                        <a:pt x="251" y="417"/>
                        <a:pt x="340" y="307"/>
                        <a:pt x="342" y="290"/>
                      </a:cubicBezTo>
                      <a:cubicBezTo>
                        <a:pt x="342" y="290"/>
                        <a:pt x="235" y="406"/>
                        <a:pt x="181" y="420"/>
                      </a:cubicBezTo>
                      <a:cubicBezTo>
                        <a:pt x="171" y="423"/>
                        <a:pt x="163" y="424"/>
                        <a:pt x="155" y="424"/>
                      </a:cubicBezTo>
                      <a:cubicBezTo>
                        <a:pt x="142" y="424"/>
                        <a:pt x="132" y="421"/>
                        <a:pt x="127" y="415"/>
                      </a:cubicBezTo>
                      <a:cubicBezTo>
                        <a:pt x="121" y="408"/>
                        <a:pt x="120" y="395"/>
                        <a:pt x="124" y="376"/>
                      </a:cubicBezTo>
                      <a:cubicBezTo>
                        <a:pt x="197" y="332"/>
                        <a:pt x="280" y="244"/>
                        <a:pt x="271" y="237"/>
                      </a:cubicBezTo>
                      <a:lnTo>
                        <a:pt x="192" y="303"/>
                      </a:lnTo>
                      <a:cubicBezTo>
                        <a:pt x="155" y="331"/>
                        <a:pt x="80" y="379"/>
                        <a:pt x="78" y="376"/>
                      </a:cubicBezTo>
                      <a:cubicBezTo>
                        <a:pt x="66" y="381"/>
                        <a:pt x="57" y="378"/>
                        <a:pt x="43" y="369"/>
                      </a:cubicBezTo>
                      <a:cubicBezTo>
                        <a:pt x="39" y="366"/>
                        <a:pt x="36" y="363"/>
                        <a:pt x="35" y="359"/>
                      </a:cubicBezTo>
                      <a:cubicBezTo>
                        <a:pt x="0" y="322"/>
                        <a:pt x="136" y="251"/>
                        <a:pt x="291" y="104"/>
                      </a:cubicBezTo>
                      <a:cubicBezTo>
                        <a:pt x="316" y="113"/>
                        <a:pt x="380" y="174"/>
                        <a:pt x="432" y="172"/>
                      </a:cubicBezTo>
                      <a:cubicBezTo>
                        <a:pt x="454" y="172"/>
                        <a:pt x="490" y="151"/>
                        <a:pt x="490" y="130"/>
                      </a:cubicBezTo>
                      <a:cubicBezTo>
                        <a:pt x="491" y="99"/>
                        <a:pt x="418" y="36"/>
                        <a:pt x="384" y="9"/>
                      </a:cubicBezTo>
                      <a:cubicBezTo>
                        <a:pt x="411" y="8"/>
                        <a:pt x="469" y="16"/>
                        <a:pt x="500" y="18"/>
                      </a:cubicBezTo>
                      <a:cubicBezTo>
                        <a:pt x="524" y="20"/>
                        <a:pt x="549" y="21"/>
                        <a:pt x="573" y="21"/>
                      </a:cubicBezTo>
                      <a:cubicBezTo>
                        <a:pt x="609" y="21"/>
                        <a:pt x="637" y="15"/>
                        <a:pt x="665" y="0"/>
                      </a:cubicBezTo>
                      <a:cubicBezTo>
                        <a:pt x="690" y="57"/>
                        <a:pt x="731" y="238"/>
                        <a:pt x="725" y="238"/>
                      </a:cubicBezTo>
                      <a:cubicBezTo>
                        <a:pt x="686" y="237"/>
                        <a:pt x="633" y="236"/>
                        <a:pt x="597" y="255"/>
                      </a:cubicBezTo>
                      <a:cubicBezTo>
                        <a:pt x="579" y="264"/>
                        <a:pt x="566" y="276"/>
                        <a:pt x="560" y="293"/>
                      </a:cubicBezTo>
                      <a:cubicBezTo>
                        <a:pt x="536" y="272"/>
                        <a:pt x="509" y="269"/>
                        <a:pt x="487" y="285"/>
                      </a:cubicBezTo>
                      <a:cubicBezTo>
                        <a:pt x="478" y="292"/>
                        <a:pt x="474" y="308"/>
                        <a:pt x="471" y="320"/>
                      </a:cubicBezTo>
                      <a:cubicBezTo>
                        <a:pt x="469" y="324"/>
                        <a:pt x="468" y="328"/>
                        <a:pt x="468" y="332"/>
                      </a:cubicBezTo>
                      <a:lnTo>
                        <a:pt x="468" y="332"/>
                      </a:lnTo>
                      <a:cubicBezTo>
                        <a:pt x="468" y="332"/>
                        <a:pt x="468" y="333"/>
                        <a:pt x="468" y="333"/>
                      </a:cubicBezTo>
                      <a:cubicBezTo>
                        <a:pt x="467" y="332"/>
                        <a:pt x="463" y="331"/>
                        <a:pt x="457" y="331"/>
                      </a:cubicBezTo>
                      <a:lnTo>
                        <a:pt x="457" y="331"/>
                      </a:lnTo>
                      <a:lnTo>
                        <a:pt x="456" y="331"/>
                      </a:lnTo>
                      <a:cubicBezTo>
                        <a:pt x="445" y="329"/>
                        <a:pt x="429" y="327"/>
                        <a:pt x="415" y="338"/>
                      </a:cubicBezTo>
                      <a:cubicBezTo>
                        <a:pt x="398" y="351"/>
                        <a:pt x="399" y="372"/>
                        <a:pt x="405" y="391"/>
                      </a:cubicBezTo>
                      <a:cubicBezTo>
                        <a:pt x="406" y="397"/>
                        <a:pt x="406" y="403"/>
                        <a:pt x="408" y="409"/>
                      </a:cubicBezTo>
                      <a:cubicBezTo>
                        <a:pt x="401" y="410"/>
                        <a:pt x="377" y="417"/>
                        <a:pt x="372" y="42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BA6ED49C-1A0A-4161-8EBA-77CBA1D6B9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5294147"/>
                <a:ext cx="537972" cy="537972"/>
              </a:xfrm>
              <a:prstGeom prst="ellipse">
                <a:avLst/>
              </a:prstGeom>
              <a:gradFill>
                <a:gsLst>
                  <a:gs pos="54000">
                    <a:srgbClr val="E8FE16"/>
                  </a:gs>
                  <a:gs pos="41000">
                    <a:srgbClr val="C8D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</p:grpSp>
        <p:sp>
          <p:nvSpPr>
            <p:cNvPr id="480" name="Oval 479">
              <a:extLst>
                <a:ext uri="{FF2B5EF4-FFF2-40B4-BE49-F238E27FC236}">
                  <a16:creationId xmlns:a16="http://schemas.microsoft.com/office/drawing/2014/main" id="{E65B7104-8945-4E66-B99B-81FA860237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1907" y="1323856"/>
              <a:ext cx="4231413" cy="4231413"/>
            </a:xfrm>
            <a:prstGeom prst="ellipse">
              <a:avLst/>
            </a:prstGeom>
            <a:gradFill>
              <a:gsLst>
                <a:gs pos="25000">
                  <a:schemeClr val="bg1">
                    <a:lumMod val="85000"/>
                  </a:schemeClr>
                </a:gs>
                <a:gs pos="12000">
                  <a:schemeClr val="bg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clear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E7AC0BF9-9057-4FEE-9250-52BE06AD8349}"/>
              </a:ext>
            </a:extLst>
          </p:cNvPr>
          <p:cNvGrpSpPr/>
          <p:nvPr/>
        </p:nvGrpSpPr>
        <p:grpSpPr>
          <a:xfrm rot="1603479">
            <a:off x="5879780" y="1828028"/>
            <a:ext cx="457200" cy="3304181"/>
            <a:chOff x="5870474" y="1783081"/>
            <a:chExt cx="457200" cy="330418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83087733-EFC1-40E4-A2F0-A53A0D7AC466}"/>
                </a:ext>
              </a:extLst>
            </p:cNvPr>
            <p:cNvSpPr/>
            <p:nvPr/>
          </p:nvSpPr>
          <p:spPr>
            <a:xfrm>
              <a:off x="5907997" y="1783081"/>
              <a:ext cx="376713" cy="3304181"/>
            </a:xfrm>
            <a:custGeom>
              <a:avLst/>
              <a:gdLst>
                <a:gd name="connsiteX0" fmla="*/ 283029 w 566058"/>
                <a:gd name="connsiteY0" fmla="*/ 3084288 h 3084289"/>
                <a:gd name="connsiteX1" fmla="*/ 283033 w 566058"/>
                <a:gd name="connsiteY1" fmla="*/ 3084288 h 3084289"/>
                <a:gd name="connsiteX2" fmla="*/ 283028 w 566058"/>
                <a:gd name="connsiteY2" fmla="*/ 3084289 h 3084289"/>
                <a:gd name="connsiteX3" fmla="*/ 283029 w 566058"/>
                <a:gd name="connsiteY3" fmla="*/ 0 h 3084289"/>
                <a:gd name="connsiteX4" fmla="*/ 566058 w 566058"/>
                <a:gd name="connsiteY4" fmla="*/ 283029 h 3084289"/>
                <a:gd name="connsiteX5" fmla="*/ 566058 w 566058"/>
                <a:gd name="connsiteY5" fmla="*/ 1556658 h 3084289"/>
                <a:gd name="connsiteX6" fmla="*/ 0 w 566058"/>
                <a:gd name="connsiteY6" fmla="*/ 1556658 h 3084289"/>
                <a:gd name="connsiteX7" fmla="*/ 0 w 566058"/>
                <a:gd name="connsiteY7" fmla="*/ 283029 h 3084289"/>
                <a:gd name="connsiteX8" fmla="*/ 283029 w 566058"/>
                <a:gd name="connsiteY8" fmla="*/ 0 h 308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3084289">
                  <a:moveTo>
                    <a:pt x="283029" y="3084288"/>
                  </a:moveTo>
                  <a:lnTo>
                    <a:pt x="283033" y="3084288"/>
                  </a:lnTo>
                  <a:lnTo>
                    <a:pt x="283028" y="3084289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1556658"/>
                  </a:lnTo>
                  <a:lnTo>
                    <a:pt x="0" y="1556658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Isosceles Triangle 529">
              <a:extLst>
                <a:ext uri="{FF2B5EF4-FFF2-40B4-BE49-F238E27FC236}">
                  <a16:creationId xmlns:a16="http://schemas.microsoft.com/office/drawing/2014/main" id="{09A6EC92-EAA6-4B08-85FE-52FE34515E33}"/>
                </a:ext>
              </a:extLst>
            </p:cNvPr>
            <p:cNvSpPr/>
            <p:nvPr/>
          </p:nvSpPr>
          <p:spPr>
            <a:xfrm>
              <a:off x="6004151" y="1788394"/>
              <a:ext cx="194027" cy="155306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Oval 530">
              <a:extLst>
                <a:ext uri="{FF2B5EF4-FFF2-40B4-BE49-F238E27FC236}">
                  <a16:creationId xmlns:a16="http://schemas.microsoft.com/office/drawing/2014/main" id="{EE8C554A-F4A2-4F0A-93E6-E32E3DAB54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70474" y="3203379"/>
              <a:ext cx="457200" cy="4571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32" name="Group 531">
            <a:extLst>
              <a:ext uri="{FF2B5EF4-FFF2-40B4-BE49-F238E27FC236}">
                <a16:creationId xmlns:a16="http://schemas.microsoft.com/office/drawing/2014/main" id="{D16B5B69-B4C5-4BD2-A00F-772B8D8EDD76}"/>
              </a:ext>
            </a:extLst>
          </p:cNvPr>
          <p:cNvGrpSpPr/>
          <p:nvPr/>
        </p:nvGrpSpPr>
        <p:grpSpPr>
          <a:xfrm>
            <a:off x="5863480" y="1407958"/>
            <a:ext cx="511010" cy="4164434"/>
            <a:chOff x="4012593" y="1324607"/>
            <a:chExt cx="512844" cy="419082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7E9F984E-80E0-49B7-A0AC-C0B3EEEFFF24}"/>
                </a:ext>
              </a:extLst>
            </p:cNvPr>
            <p:cNvSpPr/>
            <p:nvPr/>
          </p:nvSpPr>
          <p:spPr>
            <a:xfrm>
              <a:off x="4079268" y="1332227"/>
              <a:ext cx="376713" cy="4183201"/>
            </a:xfrm>
            <a:custGeom>
              <a:avLst/>
              <a:gdLst>
                <a:gd name="connsiteX0" fmla="*/ 283029 w 566058"/>
                <a:gd name="connsiteY0" fmla="*/ 4183200 h 4183201"/>
                <a:gd name="connsiteX1" fmla="*/ 283033 w 566058"/>
                <a:gd name="connsiteY1" fmla="*/ 4183200 h 4183201"/>
                <a:gd name="connsiteX2" fmla="*/ 283028 w 566058"/>
                <a:gd name="connsiteY2" fmla="*/ 4183201 h 4183201"/>
                <a:gd name="connsiteX3" fmla="*/ 283029 w 566058"/>
                <a:gd name="connsiteY3" fmla="*/ 0 h 4183201"/>
                <a:gd name="connsiteX4" fmla="*/ 566058 w 566058"/>
                <a:gd name="connsiteY4" fmla="*/ 283029 h 4183201"/>
                <a:gd name="connsiteX5" fmla="*/ 566058 w 566058"/>
                <a:gd name="connsiteY5" fmla="*/ 2106114 h 4183201"/>
                <a:gd name="connsiteX6" fmla="*/ 0 w 566058"/>
                <a:gd name="connsiteY6" fmla="*/ 2106114 h 4183201"/>
                <a:gd name="connsiteX7" fmla="*/ 0 w 566058"/>
                <a:gd name="connsiteY7" fmla="*/ 283029 h 4183201"/>
                <a:gd name="connsiteX8" fmla="*/ 283029 w 566058"/>
                <a:gd name="connsiteY8" fmla="*/ 0 h 418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4183201">
                  <a:moveTo>
                    <a:pt x="283029" y="4183200"/>
                  </a:moveTo>
                  <a:lnTo>
                    <a:pt x="283033" y="4183200"/>
                  </a:lnTo>
                  <a:lnTo>
                    <a:pt x="283028" y="4183201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2106114"/>
                  </a:lnTo>
                  <a:lnTo>
                    <a:pt x="0" y="2106114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Isosceles Triangle 533">
              <a:extLst>
                <a:ext uri="{FF2B5EF4-FFF2-40B4-BE49-F238E27FC236}">
                  <a16:creationId xmlns:a16="http://schemas.microsoft.com/office/drawing/2014/main" id="{9B80B8DE-DFA6-40CC-99CB-5BB83D5F8FA5}"/>
                </a:ext>
              </a:extLst>
            </p:cNvPr>
            <p:cNvSpPr/>
            <p:nvPr/>
          </p:nvSpPr>
          <p:spPr>
            <a:xfrm>
              <a:off x="4160930" y="1324607"/>
              <a:ext cx="213387" cy="203460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5" name="Oval 534">
              <a:extLst>
                <a:ext uri="{FF2B5EF4-FFF2-40B4-BE49-F238E27FC236}">
                  <a16:creationId xmlns:a16="http://schemas.microsoft.com/office/drawing/2014/main" id="{2BF01584-F422-4B3F-8111-FFC7C89D9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2593" y="3170581"/>
              <a:ext cx="512844" cy="51284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EBEA7B0A-C4ED-44B9-AC07-4AA30F2C8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12089" y="3271152"/>
              <a:ext cx="319026" cy="319025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5" name="Callout: Bent Line with Accent Bar 544">
            <a:extLst>
              <a:ext uri="{FF2B5EF4-FFF2-40B4-BE49-F238E27FC236}">
                <a16:creationId xmlns:a16="http://schemas.microsoft.com/office/drawing/2014/main" id="{77D388A6-CACF-48F9-9869-8D2E38127FDB}"/>
              </a:ext>
            </a:extLst>
          </p:cNvPr>
          <p:cNvSpPr>
            <a:spLocks noChangeAspect="1"/>
          </p:cNvSpPr>
          <p:nvPr/>
        </p:nvSpPr>
        <p:spPr>
          <a:xfrm>
            <a:off x="8389100" y="1008628"/>
            <a:ext cx="3362826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6" name="Callout: Bent Line with Accent Bar 545">
            <a:extLst>
              <a:ext uri="{FF2B5EF4-FFF2-40B4-BE49-F238E27FC236}">
                <a16:creationId xmlns:a16="http://schemas.microsoft.com/office/drawing/2014/main" id="{1E32821A-A3B1-460E-A90C-84A6303B3CDF}"/>
              </a:ext>
            </a:extLst>
          </p:cNvPr>
          <p:cNvSpPr>
            <a:spLocks noChangeAspect="1"/>
          </p:cNvSpPr>
          <p:nvPr/>
        </p:nvSpPr>
        <p:spPr>
          <a:xfrm>
            <a:off x="9030932" y="2179554"/>
            <a:ext cx="3133910" cy="631519"/>
          </a:xfrm>
          <a:prstGeom prst="accentCallout2">
            <a:avLst>
              <a:gd name="adj1" fmla="val 50686"/>
              <a:gd name="adj2" fmla="val -1682"/>
              <a:gd name="adj3" fmla="val 49335"/>
              <a:gd name="adj4" fmla="val -10207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7" name="Callout: Bent Line with Accent Bar 546">
            <a:extLst>
              <a:ext uri="{FF2B5EF4-FFF2-40B4-BE49-F238E27FC236}">
                <a16:creationId xmlns:a16="http://schemas.microsoft.com/office/drawing/2014/main" id="{B1BB55FC-016F-4410-8209-2F0391013B63}"/>
              </a:ext>
            </a:extLst>
          </p:cNvPr>
          <p:cNvSpPr>
            <a:spLocks noChangeAspect="1"/>
          </p:cNvSpPr>
          <p:nvPr/>
        </p:nvSpPr>
        <p:spPr>
          <a:xfrm>
            <a:off x="9182209" y="3414854"/>
            <a:ext cx="3031316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8" name="Callout: Bent Line with Accent Bar 547">
            <a:extLst>
              <a:ext uri="{FF2B5EF4-FFF2-40B4-BE49-F238E27FC236}">
                <a16:creationId xmlns:a16="http://schemas.microsoft.com/office/drawing/2014/main" id="{D9610E6D-59BA-4CD0-BC66-9BD6E7674F04}"/>
              </a:ext>
            </a:extLst>
          </p:cNvPr>
          <p:cNvSpPr>
            <a:spLocks noChangeAspect="1"/>
          </p:cNvSpPr>
          <p:nvPr/>
        </p:nvSpPr>
        <p:spPr>
          <a:xfrm>
            <a:off x="9054683" y="4688442"/>
            <a:ext cx="3133910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2914"/>
              <a:gd name="adj6" fmla="val -20111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9" name="Callout: Bent Line with Accent Bar 548">
            <a:extLst>
              <a:ext uri="{FF2B5EF4-FFF2-40B4-BE49-F238E27FC236}">
                <a16:creationId xmlns:a16="http://schemas.microsoft.com/office/drawing/2014/main" id="{B967150D-6267-4D45-A386-2380B4179574}"/>
              </a:ext>
            </a:extLst>
          </p:cNvPr>
          <p:cNvSpPr>
            <a:spLocks noChangeAspect="1"/>
          </p:cNvSpPr>
          <p:nvPr/>
        </p:nvSpPr>
        <p:spPr>
          <a:xfrm>
            <a:off x="8389100" y="5623671"/>
            <a:ext cx="3028375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A9D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UILD, RELEASE, RU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rictly separate build and run stages.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0" name="Callout: Bent Line with Accent Bar 549">
            <a:extLst>
              <a:ext uri="{FF2B5EF4-FFF2-40B4-BE49-F238E27FC236}">
                <a16:creationId xmlns:a16="http://schemas.microsoft.com/office/drawing/2014/main" id="{3B24BF2E-7058-4E41-B217-D4FE501B59AF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28529" y="5576292"/>
            <a:ext cx="3028375" cy="631519"/>
          </a:xfrm>
          <a:prstGeom prst="accentCallout2">
            <a:avLst>
              <a:gd name="adj1" fmla="val 50926"/>
              <a:gd name="adj2" fmla="val -345"/>
              <a:gd name="adj3" fmla="val 50354"/>
              <a:gd name="adj4" fmla="val -16986"/>
              <a:gd name="adj5" fmla="val 528"/>
              <a:gd name="adj6" fmla="val -28813"/>
            </a:avLst>
          </a:prstGeom>
          <a:noFill/>
          <a:ln w="19050">
            <a:solidFill>
              <a:srgbClr val="00783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BCAA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ORT BINDING</a:t>
            </a:r>
          </a:p>
          <a:p>
            <a:pPr algn="r"/>
            <a:r>
              <a:rPr lang="fr-FR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ort services via port binding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1" name="Callout: Bent Line with Accent Bar 550">
            <a:extLst>
              <a:ext uri="{FF2B5EF4-FFF2-40B4-BE49-F238E27FC236}">
                <a16:creationId xmlns:a16="http://schemas.microsoft.com/office/drawing/2014/main" id="{4D38FFEF-072D-443B-A9C7-447753D6B942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344760" y="4643597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2" name="Callout: Bent Line with Accent Bar 551">
            <a:extLst>
              <a:ext uri="{FF2B5EF4-FFF2-40B4-BE49-F238E27FC236}">
                <a16:creationId xmlns:a16="http://schemas.microsoft.com/office/drawing/2014/main" id="{39F4F914-BB82-42A6-81CE-4A62F3BE91B7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94588" y="3349041"/>
            <a:ext cx="2774167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DISPOSABILIT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3" name="Callout: Bent Line with Accent Bar 552">
            <a:extLst>
              <a:ext uri="{FF2B5EF4-FFF2-40B4-BE49-F238E27FC236}">
                <a16:creationId xmlns:a16="http://schemas.microsoft.com/office/drawing/2014/main" id="{4965D165-A40E-4D06-AC7D-C5F949E6C95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04394" y="2179554"/>
            <a:ext cx="2707155" cy="631519"/>
          </a:xfrm>
          <a:prstGeom prst="accentCallout2">
            <a:avLst>
              <a:gd name="adj1" fmla="val 48440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8DB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V/POD PARITY 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Keep development, staging, and production as similar as possible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4" name="Callout: Bent Line with Accent Bar 553">
            <a:extLst>
              <a:ext uri="{FF2B5EF4-FFF2-40B4-BE49-F238E27FC236}">
                <a16:creationId xmlns:a16="http://schemas.microsoft.com/office/drawing/2014/main" id="{AA0D3C4A-851E-41A6-8568-55132032ACD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503330" y="953834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793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LOGS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logs as event stream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CE973882-CF50-4DF4-8F40-645AEDDDAAC6}"/>
              </a:ext>
            </a:extLst>
          </p:cNvPr>
          <p:cNvSpPr txBox="1"/>
          <p:nvPr/>
        </p:nvSpPr>
        <p:spPr>
          <a:xfrm>
            <a:off x="4301097" y="6236120"/>
            <a:ext cx="35675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0683A285-6700-431B-A973-49002C0D6DD1}"/>
              </a:ext>
            </a:extLst>
          </p:cNvPr>
          <p:cNvSpPr/>
          <p:nvPr/>
        </p:nvSpPr>
        <p:spPr>
          <a:xfrm>
            <a:off x="5194764" y="59362"/>
            <a:ext cx="6935681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16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BUSINESS TIMELINE INFOGRAPHIC</a:t>
            </a:r>
            <a:endParaRPr lang="en-US" sz="16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AC36417F-4F2A-4E77-A7E4-AFCD67A0919F}"/>
              </a:ext>
            </a:extLst>
          </p:cNvPr>
          <p:cNvSpPr/>
          <p:nvPr/>
        </p:nvSpPr>
        <p:spPr>
          <a:xfrm>
            <a:off x="4591488" y="3105835"/>
            <a:ext cx="3009030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0"/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aargh" panose="00000400000000000000" pitchFamily="2" charset="0"/>
              </a:rPr>
              <a:t>12 Factor Apps</a:t>
            </a:r>
            <a:endParaRPr lang="en-US" sz="3600" b="1" cap="none" spc="0" dirty="0">
              <a:ln w="0"/>
              <a:solidFill>
                <a:schemeClr val="accent4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aargh" panose="00000400000000000000" pitchFamily="2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439B80C5-A60F-44AF-808C-B5BEEF6AC719}"/>
              </a:ext>
            </a:extLst>
          </p:cNvPr>
          <p:cNvSpPr txBox="1"/>
          <p:nvPr/>
        </p:nvSpPr>
        <p:spPr>
          <a:xfrm>
            <a:off x="4432976" y="350431"/>
            <a:ext cx="35675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spc="300" dirty="0">
                <a:solidFill>
                  <a:srgbClr val="B536D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ADMIN PROCESS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Run admin/management tasks as one-off processes.. </a:t>
            </a:r>
            <a:endParaRPr lang="en-IN" sz="105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nsation Light" panose="02000000000000000000" pitchFamily="2" charset="0"/>
            </a:endParaRPr>
          </a:p>
          <a:p>
            <a:endParaRPr lang="en-US" sz="1050" dirty="0">
              <a:latin typeface="Sansation Light" panose="02000000000000000000" pitchFamily="2" charset="0"/>
            </a:endParaRPr>
          </a:p>
        </p:txBody>
      </p:sp>
      <p:pic>
        <p:nvPicPr>
          <p:cNvPr id="6" name="Graphic 5" descr="Single gear">
            <a:extLst>
              <a:ext uri="{FF2B5EF4-FFF2-40B4-BE49-F238E27FC236}">
                <a16:creationId xmlns:a16="http://schemas.microsoft.com/office/drawing/2014/main" id="{A35F3516-1360-4296-98A1-28D2D30DCA8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03659" y="5710386"/>
            <a:ext cx="385557" cy="385557"/>
          </a:xfrm>
          <a:prstGeom prst="rect">
            <a:avLst/>
          </a:prstGeom>
        </p:spPr>
      </p:pic>
      <p:pic>
        <p:nvPicPr>
          <p:cNvPr id="8" name="Graphic 7" descr="Puzzle">
            <a:extLst>
              <a:ext uri="{FF2B5EF4-FFF2-40B4-BE49-F238E27FC236}">
                <a16:creationId xmlns:a16="http://schemas.microsoft.com/office/drawing/2014/main" id="{914B6BB1-3754-4494-B036-474CD8C0554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092452" y="5387893"/>
            <a:ext cx="410620" cy="410620"/>
          </a:xfrm>
          <a:prstGeom prst="rect">
            <a:avLst/>
          </a:prstGeom>
        </p:spPr>
      </p:pic>
      <p:pic>
        <p:nvPicPr>
          <p:cNvPr id="10" name="Graphic 9" descr="Garbage">
            <a:extLst>
              <a:ext uri="{FF2B5EF4-FFF2-40B4-BE49-F238E27FC236}">
                <a16:creationId xmlns:a16="http://schemas.microsoft.com/office/drawing/2014/main" id="{B3E8F6DC-1868-4DD9-AE29-228A2B351E9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418766" y="3249956"/>
            <a:ext cx="329796" cy="329796"/>
          </a:xfrm>
          <a:prstGeom prst="rect">
            <a:avLst/>
          </a:prstGeom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6E6CEF70-9421-4B38-A07B-E6587D859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701" y="1116435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1C09CEAE-EFA1-4D6B-A1D9-EF47AA243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003" y="4444406"/>
            <a:ext cx="467114" cy="41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D885B894-F130-4C13-8360-603D44143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88" y="2001820"/>
            <a:ext cx="305401" cy="355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>
            <a:extLst>
              <a:ext uri="{FF2B5EF4-FFF2-40B4-BE49-F238E27FC236}">
                <a16:creationId xmlns:a16="http://schemas.microsoft.com/office/drawing/2014/main" id="{09E41E21-9956-4312-A865-D16FD7117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893" y="1092676"/>
            <a:ext cx="375997" cy="37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 descr="Target">
            <a:extLst>
              <a:ext uri="{FF2B5EF4-FFF2-40B4-BE49-F238E27FC236}">
                <a16:creationId xmlns:a16="http://schemas.microsoft.com/office/drawing/2014/main" id="{46D65EA7-A902-413F-9D32-0327F7C4EE7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631568" y="5376302"/>
            <a:ext cx="416062" cy="416062"/>
          </a:xfrm>
          <a:prstGeom prst="rect">
            <a:avLst/>
          </a:prstGeom>
        </p:spPr>
      </p:pic>
      <p:pic>
        <p:nvPicPr>
          <p:cNvPr id="136" name="Graphic 135" descr="Single gear">
            <a:extLst>
              <a:ext uri="{FF2B5EF4-FFF2-40B4-BE49-F238E27FC236}">
                <a16:creationId xmlns:a16="http://schemas.microsoft.com/office/drawing/2014/main" id="{6D3F6214-5059-411C-8B0F-7451040C528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03360" y="5694499"/>
            <a:ext cx="385557" cy="385557"/>
          </a:xfrm>
          <a:prstGeom prst="rect">
            <a:avLst/>
          </a:prstGeom>
        </p:spPr>
      </p:pic>
      <p:pic>
        <p:nvPicPr>
          <p:cNvPr id="137" name="Picture 14">
            <a:extLst>
              <a:ext uri="{FF2B5EF4-FFF2-40B4-BE49-F238E27FC236}">
                <a16:creationId xmlns:a16="http://schemas.microsoft.com/office/drawing/2014/main" id="{6EC4A6D8-BC38-4573-B9F9-E1364D1CB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704" y="4428519"/>
            <a:ext cx="467114" cy="41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78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4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10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1000"/>
                                        <p:tgtEl>
                                          <p:spTgt spid="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1000"/>
                                        <p:tgtEl>
                                          <p:spTgt spid="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1000"/>
                                        <p:tgtEl>
                                          <p:spTgt spid="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10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10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10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10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5" grpId="0" animBg="1"/>
      <p:bldP spid="546" grpId="0" animBg="1"/>
      <p:bldP spid="547" grpId="0" animBg="1"/>
      <p:bldP spid="548" grpId="0" animBg="1"/>
      <p:bldP spid="549" grpId="0" animBg="1"/>
      <p:bldP spid="550" grpId="0" animBg="1"/>
      <p:bldP spid="551" grpId="0" animBg="1"/>
      <p:bldP spid="552" grpId="0" animBg="1"/>
      <p:bldP spid="553" grpId="0" animBg="1"/>
      <p:bldP spid="554" grpId="0" animBg="1"/>
      <p:bldP spid="555" grpId="0"/>
      <p:bldP spid="557" grpId="0"/>
      <p:bldP spid="1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8433" y="3503830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1382" y="2972066"/>
            <a:ext cx="268502" cy="32006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Callout: Bent Line with Accent Bar 84">
            <a:extLst>
              <a:ext uri="{FF2B5EF4-FFF2-40B4-BE49-F238E27FC236}">
                <a16:creationId xmlns:a16="http://schemas.microsoft.com/office/drawing/2014/main" id="{8454DD3D-8DA7-4464-A612-3C3677E76BAD}"/>
              </a:ext>
            </a:extLst>
          </p:cNvPr>
          <p:cNvSpPr>
            <a:spLocks noChangeAspect="1"/>
          </p:cNvSpPr>
          <p:nvPr/>
        </p:nvSpPr>
        <p:spPr>
          <a:xfrm>
            <a:off x="2234751" y="973659"/>
            <a:ext cx="5610252" cy="631519"/>
          </a:xfrm>
          <a:prstGeom prst="accentCallout2">
            <a:avLst>
              <a:gd name="adj1" fmla="val 50442"/>
              <a:gd name="adj2" fmla="val -1362"/>
              <a:gd name="adj3" fmla="val -6197"/>
              <a:gd name="adj4" fmla="val -9773"/>
              <a:gd name="adj5" fmla="val -19158"/>
              <a:gd name="adj6" fmla="val -19476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6500F03D-E80D-49A5-A318-A8D811F6083C}"/>
              </a:ext>
            </a:extLst>
          </p:cNvPr>
          <p:cNvSpPr/>
          <p:nvPr/>
        </p:nvSpPr>
        <p:spPr>
          <a:xfrm>
            <a:off x="2238348" y="1243899"/>
            <a:ext cx="574473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D881AF-5CE3-452C-94AA-2A8E6513FE9D}"/>
              </a:ext>
            </a:extLst>
          </p:cNvPr>
          <p:cNvSpPr/>
          <p:nvPr/>
        </p:nvSpPr>
        <p:spPr>
          <a:xfrm>
            <a:off x="2667000" y="1243899"/>
            <a:ext cx="129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codebase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225835-21B0-4B5A-97B5-628294EC5BB6}"/>
              </a:ext>
            </a:extLst>
          </p:cNvPr>
          <p:cNvSpPr txBox="1"/>
          <p:nvPr/>
        </p:nvSpPr>
        <p:spPr>
          <a:xfrm>
            <a:off x="3962400" y="2058170"/>
            <a:ext cx="563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Every Application should maintain Version Control System</a:t>
            </a:r>
            <a:endParaRPr lang="en-IN" sz="1400" i="1" dirty="0">
              <a:solidFill>
                <a:srgbClr val="FFC000"/>
              </a:solidFill>
              <a:latin typeface="Brush Script MT" panose="03060802040406070304" pitchFamily="66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8E28B6-D4B2-41DE-817C-C0A424C5BF25}"/>
              </a:ext>
            </a:extLst>
          </p:cNvPr>
          <p:cNvSpPr/>
          <p:nvPr/>
        </p:nvSpPr>
        <p:spPr>
          <a:xfrm>
            <a:off x="8763000" y="2424549"/>
            <a:ext cx="3342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…</a:t>
            </a:r>
            <a:r>
              <a:rPr lang="en-IN" i="1" dirty="0">
                <a:solidFill>
                  <a:srgbClr val="00B0F0"/>
                </a:solidFill>
                <a:latin typeface="Brush Script MT" panose="03060802040406070304" pitchFamily="66" charset="0"/>
              </a:rPr>
              <a:t>that’s not all this methodology specify</a:t>
            </a:r>
            <a:endParaRPr lang="en-IN" dirty="0">
              <a:solidFill>
                <a:srgbClr val="00B0F0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030F13C-38D2-49C0-A73E-3DF48A4851B4}"/>
              </a:ext>
            </a:extLst>
          </p:cNvPr>
          <p:cNvGrpSpPr/>
          <p:nvPr/>
        </p:nvGrpSpPr>
        <p:grpSpPr>
          <a:xfrm>
            <a:off x="4476474" y="3338967"/>
            <a:ext cx="1811390" cy="466381"/>
            <a:chOff x="3814038" y="3328678"/>
            <a:chExt cx="1811390" cy="466381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215D90D-709C-4D78-8DDA-6B0134C0BA82}"/>
                </a:ext>
              </a:extLst>
            </p:cNvPr>
            <p:cNvSpPr/>
            <p:nvPr/>
          </p:nvSpPr>
          <p:spPr>
            <a:xfrm>
              <a:off x="4061119" y="3362560"/>
              <a:ext cx="1564309" cy="397098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0" bIns="5715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 dirty="0"/>
                <a:t>Production</a:t>
              </a:r>
            </a:p>
          </p:txBody>
        </p:sp>
        <p:pic>
          <p:nvPicPr>
            <p:cNvPr id="87" name="Picture 4">
              <a:extLst>
                <a:ext uri="{FF2B5EF4-FFF2-40B4-BE49-F238E27FC236}">
                  <a16:creationId xmlns:a16="http://schemas.microsoft.com/office/drawing/2014/main" id="{0E924842-3408-42EF-9821-BE13EE8170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4038" y="3328678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CF59B32-9004-4EF6-821E-02881F3D327A}"/>
              </a:ext>
            </a:extLst>
          </p:cNvPr>
          <p:cNvGrpSpPr/>
          <p:nvPr/>
        </p:nvGrpSpPr>
        <p:grpSpPr>
          <a:xfrm>
            <a:off x="4500070" y="4105736"/>
            <a:ext cx="1787794" cy="466381"/>
            <a:chOff x="3830521" y="4100922"/>
            <a:chExt cx="1787794" cy="466381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1A3F753-2B56-4239-9C44-3C17B9184E20}"/>
                </a:ext>
              </a:extLst>
            </p:cNvPr>
            <p:cNvSpPr/>
            <p:nvPr/>
          </p:nvSpPr>
          <p:spPr>
            <a:xfrm>
              <a:off x="4054006" y="4140378"/>
              <a:ext cx="1564309" cy="397097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0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 dirty="0"/>
                <a:t>Dev</a:t>
              </a:r>
            </a:p>
          </p:txBody>
        </p:sp>
        <p:pic>
          <p:nvPicPr>
            <p:cNvPr id="88" name="Picture 6">
              <a:extLst>
                <a:ext uri="{FF2B5EF4-FFF2-40B4-BE49-F238E27FC236}">
                  <a16:creationId xmlns:a16="http://schemas.microsoft.com/office/drawing/2014/main" id="{556BCE8D-DEE9-4A3B-86B5-5C90B3B455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521" y="4100922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21" name="Group 9220">
            <a:extLst>
              <a:ext uri="{FF2B5EF4-FFF2-40B4-BE49-F238E27FC236}">
                <a16:creationId xmlns:a16="http://schemas.microsoft.com/office/drawing/2014/main" id="{0877E313-AB55-4F6C-9413-DF06242620A4}"/>
              </a:ext>
            </a:extLst>
          </p:cNvPr>
          <p:cNvGrpSpPr/>
          <p:nvPr/>
        </p:nvGrpSpPr>
        <p:grpSpPr>
          <a:xfrm>
            <a:off x="4476474" y="4880480"/>
            <a:ext cx="1796550" cy="466381"/>
            <a:chOff x="3830138" y="4858082"/>
            <a:chExt cx="1796550" cy="46638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9293151-4DD9-4BDC-99C8-334FCB59494B}"/>
                </a:ext>
              </a:extLst>
            </p:cNvPr>
            <p:cNvSpPr/>
            <p:nvPr/>
          </p:nvSpPr>
          <p:spPr>
            <a:xfrm>
              <a:off x="4062378" y="4886813"/>
              <a:ext cx="1564310" cy="397097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1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/>
                <a:t>UAT</a:t>
              </a:r>
            </a:p>
          </p:txBody>
        </p:sp>
        <p:pic>
          <p:nvPicPr>
            <p:cNvPr id="89" name="Picture 8">
              <a:extLst>
                <a:ext uri="{FF2B5EF4-FFF2-40B4-BE49-F238E27FC236}">
                  <a16:creationId xmlns:a16="http://schemas.microsoft.com/office/drawing/2014/main" id="{9224E292-AC9F-41DB-A8C7-B729C8C5D9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138" y="4858082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2AFFC87-9D2F-4574-84BD-41891F0A8CCA}"/>
              </a:ext>
            </a:extLst>
          </p:cNvPr>
          <p:cNvGrpSpPr/>
          <p:nvPr/>
        </p:nvGrpSpPr>
        <p:grpSpPr>
          <a:xfrm>
            <a:off x="9469515" y="3526575"/>
            <a:ext cx="2572987" cy="1644271"/>
            <a:chOff x="2671988" y="3332302"/>
            <a:chExt cx="3314928" cy="2118410"/>
          </a:xfrm>
        </p:grpSpPr>
        <p:graphicFrame>
          <p:nvGraphicFramePr>
            <p:cNvPr id="108" name="Diagram 107">
              <a:extLst>
                <a:ext uri="{FF2B5EF4-FFF2-40B4-BE49-F238E27FC236}">
                  <a16:creationId xmlns:a16="http://schemas.microsoft.com/office/drawing/2014/main" id="{C485367D-656B-467F-8C42-DCFD0C1E1F70}"/>
                </a:ext>
              </a:extLst>
            </p:cNvPr>
            <p:cNvGraphicFramePr/>
            <p:nvPr/>
          </p:nvGraphicFramePr>
          <p:xfrm>
            <a:off x="2671988" y="3379221"/>
            <a:ext cx="3314928" cy="20145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1" r:lo="rId32" r:qs="rId33" r:cs="rId34"/>
            </a:graphicData>
          </a:graphic>
        </p:graphicFrame>
        <p:pic>
          <p:nvPicPr>
            <p:cNvPr id="109" name="Picture 4">
              <a:extLst>
                <a:ext uri="{FF2B5EF4-FFF2-40B4-BE49-F238E27FC236}">
                  <a16:creationId xmlns:a16="http://schemas.microsoft.com/office/drawing/2014/main" id="{4ACCAD30-03A1-4DEE-9B61-853F15D0BD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8947" y="3332302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6">
              <a:extLst>
                <a:ext uri="{FF2B5EF4-FFF2-40B4-BE49-F238E27FC236}">
                  <a16:creationId xmlns:a16="http://schemas.microsoft.com/office/drawing/2014/main" id="{C7558349-EFF6-4176-A61A-CF57097DD2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199" y="405107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8">
              <a:extLst>
                <a:ext uri="{FF2B5EF4-FFF2-40B4-BE49-F238E27FC236}">
                  <a16:creationId xmlns:a16="http://schemas.microsoft.com/office/drawing/2014/main" id="{8814CBCD-BCB4-43E7-B2F1-3EF735DCA5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251" y="479348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FCF1D1F3-0FC0-44DE-A27E-4B5E982C4F2B}"/>
              </a:ext>
            </a:extLst>
          </p:cNvPr>
          <p:cNvSpPr txBox="1"/>
          <p:nvPr/>
        </p:nvSpPr>
        <p:spPr>
          <a:xfrm>
            <a:off x="7690694" y="3074113"/>
            <a:ext cx="4887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i="1" dirty="0">
                <a:solidFill>
                  <a:srgbClr val="B536DB"/>
                </a:solidFill>
              </a:rPr>
              <a:t>A Codebase can have multiple Deploy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54AC0159-C8CE-4C96-9F05-C80E865E4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988" y="3994078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9332A037-A5AD-4CE1-96A4-BCA9DB046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874" y="3223731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>
            <a:extLst>
              <a:ext uri="{FF2B5EF4-FFF2-40B4-BE49-F238E27FC236}">
                <a16:creationId xmlns:a16="http://schemas.microsoft.com/office/drawing/2014/main" id="{DBF9A11D-6306-4920-B7F2-C4A50D493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840" y="4766390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A192DF2-E2BA-4B43-A1D9-984297BDA85D}"/>
              </a:ext>
            </a:extLst>
          </p:cNvPr>
          <p:cNvCxnSpPr>
            <a:stCxn id="9220" idx="3"/>
            <a:endCxn id="87" idx="1"/>
          </p:cNvCxnSpPr>
          <p:nvPr/>
        </p:nvCxnSpPr>
        <p:spPr>
          <a:xfrm>
            <a:off x="2933149" y="3561869"/>
            <a:ext cx="1543325" cy="1028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098976C-8B4B-4758-8306-1EB0379979B8}"/>
              </a:ext>
            </a:extLst>
          </p:cNvPr>
          <p:cNvCxnSpPr>
            <a:cxnSpLocks/>
          </p:cNvCxnSpPr>
          <p:nvPr/>
        </p:nvCxnSpPr>
        <p:spPr>
          <a:xfrm flipV="1">
            <a:off x="2883445" y="4322692"/>
            <a:ext cx="1616625" cy="8086"/>
          </a:xfrm>
          <a:prstGeom prst="straightConnector1">
            <a:avLst/>
          </a:prstGeom>
          <a:ln w="12700">
            <a:solidFill>
              <a:srgbClr val="B536D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9B6BBD6-4569-4A8E-B933-508176491750}"/>
              </a:ext>
            </a:extLst>
          </p:cNvPr>
          <p:cNvCxnSpPr>
            <a:stCxn id="9222" idx="3"/>
            <a:endCxn id="89" idx="1"/>
          </p:cNvCxnSpPr>
          <p:nvPr/>
        </p:nvCxnSpPr>
        <p:spPr>
          <a:xfrm>
            <a:off x="2943115" y="5104528"/>
            <a:ext cx="1533359" cy="9143"/>
          </a:xfrm>
          <a:prstGeom prst="straightConnector1">
            <a:avLst/>
          </a:prstGeom>
          <a:ln w="12700">
            <a:solidFill>
              <a:srgbClr val="89FFF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4" name="Picture 8">
            <a:extLst>
              <a:ext uri="{FF2B5EF4-FFF2-40B4-BE49-F238E27FC236}">
                <a16:creationId xmlns:a16="http://schemas.microsoft.com/office/drawing/2014/main" id="{7E6D6179-691D-483C-BF85-49C677C630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891" y="3966158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225" name="Straight Arrow Connector 9224">
            <a:extLst>
              <a:ext uri="{FF2B5EF4-FFF2-40B4-BE49-F238E27FC236}">
                <a16:creationId xmlns:a16="http://schemas.microsoft.com/office/drawing/2014/main" id="{7D3A636D-405E-4D5E-9BF8-C9474EBFBB5F}"/>
              </a:ext>
            </a:extLst>
          </p:cNvPr>
          <p:cNvCxnSpPr>
            <a:stCxn id="9224" idx="3"/>
          </p:cNvCxnSpPr>
          <p:nvPr/>
        </p:nvCxnSpPr>
        <p:spPr>
          <a:xfrm flipV="1">
            <a:off x="7913166" y="3840000"/>
            <a:ext cx="1459434" cy="46429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27" name="Straight Arrow Connector 9226">
            <a:extLst>
              <a:ext uri="{FF2B5EF4-FFF2-40B4-BE49-F238E27FC236}">
                <a16:creationId xmlns:a16="http://schemas.microsoft.com/office/drawing/2014/main" id="{442CA8EA-E82D-4D64-A63D-18516985170C}"/>
              </a:ext>
            </a:extLst>
          </p:cNvPr>
          <p:cNvCxnSpPr>
            <a:cxnSpLocks/>
            <a:stCxn id="9224" idx="3"/>
          </p:cNvCxnSpPr>
          <p:nvPr/>
        </p:nvCxnSpPr>
        <p:spPr>
          <a:xfrm flipV="1">
            <a:off x="7913166" y="4278685"/>
            <a:ext cx="1471846" cy="2561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29" name="Straight Arrow Connector 9228">
            <a:extLst>
              <a:ext uri="{FF2B5EF4-FFF2-40B4-BE49-F238E27FC236}">
                <a16:creationId xmlns:a16="http://schemas.microsoft.com/office/drawing/2014/main" id="{D75CA4EA-3C38-4443-A3E4-E85165E9307B}"/>
              </a:ext>
            </a:extLst>
          </p:cNvPr>
          <p:cNvCxnSpPr>
            <a:cxnSpLocks/>
            <a:stCxn id="9224" idx="3"/>
          </p:cNvCxnSpPr>
          <p:nvPr/>
        </p:nvCxnSpPr>
        <p:spPr>
          <a:xfrm>
            <a:off x="7913166" y="4304296"/>
            <a:ext cx="1471846" cy="51162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187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07407E-6 L -8.33333E-7 -0.20533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5E-6 0.12037 " pathEditMode="relative" rAng="0" ptsTypes="AA">
                                      <p:cBhvr>
                                        <p:cTn id="57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1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"/>
                            </p:stCondLst>
                            <p:childTnLst>
                              <p:par>
                                <p:cTn id="8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"/>
                            </p:stCondLst>
                            <p:childTnLst>
                              <p:par>
                                <p:cTn id="9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92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2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1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6" dur="2000"/>
                                        <p:tgtEl>
                                          <p:spTgt spid="9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9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9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9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1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138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85" grpId="0" animBg="1"/>
      <p:bldP spid="90" grpId="0"/>
      <p:bldP spid="90" grpId="1"/>
      <p:bldP spid="90" grpId="2"/>
      <p:bldP spid="90" grpId="3"/>
      <p:bldP spid="92" grpId="0"/>
      <p:bldP spid="76" grpId="0" animBg="1"/>
      <p:bldP spid="16" grpId="0"/>
      <p:bldP spid="16" grpId="1"/>
      <p:bldP spid="2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8433" y="3503830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1382" y="2972066"/>
            <a:ext cx="268502" cy="32006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Callout: Bent Line with Accent Bar 84">
            <a:extLst>
              <a:ext uri="{FF2B5EF4-FFF2-40B4-BE49-F238E27FC236}">
                <a16:creationId xmlns:a16="http://schemas.microsoft.com/office/drawing/2014/main" id="{8454DD3D-8DA7-4464-A612-3C3677E76BAD}"/>
              </a:ext>
            </a:extLst>
          </p:cNvPr>
          <p:cNvSpPr>
            <a:spLocks noChangeAspect="1"/>
          </p:cNvSpPr>
          <p:nvPr/>
        </p:nvSpPr>
        <p:spPr>
          <a:xfrm>
            <a:off x="2238348" y="955476"/>
            <a:ext cx="5610252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6500F03D-E80D-49A5-A318-A8D811F6083C}"/>
              </a:ext>
            </a:extLst>
          </p:cNvPr>
          <p:cNvSpPr/>
          <p:nvPr/>
        </p:nvSpPr>
        <p:spPr>
          <a:xfrm>
            <a:off x="2238348" y="1243899"/>
            <a:ext cx="574473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D881AF-5CE3-452C-94AA-2A8E6513FE9D}"/>
              </a:ext>
            </a:extLst>
          </p:cNvPr>
          <p:cNvSpPr/>
          <p:nvPr/>
        </p:nvSpPr>
        <p:spPr>
          <a:xfrm>
            <a:off x="2667000" y="1243899"/>
            <a:ext cx="129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codebase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925F13-E7CD-488E-AF0F-F500D7599E69}"/>
              </a:ext>
            </a:extLst>
          </p:cNvPr>
          <p:cNvSpPr txBox="1"/>
          <p:nvPr/>
        </p:nvSpPr>
        <p:spPr>
          <a:xfrm>
            <a:off x="4112584" y="2197950"/>
            <a:ext cx="3581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19FFC3"/>
                </a:solidFill>
              </a:rPr>
              <a:t>Every application should maintain </a:t>
            </a:r>
            <a:br>
              <a:rPr lang="en-IN" dirty="0">
                <a:solidFill>
                  <a:srgbClr val="19FFC3"/>
                </a:solidFill>
              </a:rPr>
            </a:br>
            <a:r>
              <a:rPr lang="en-IN" dirty="0">
                <a:solidFill>
                  <a:srgbClr val="19FFC3"/>
                </a:solidFill>
              </a:rPr>
              <a:t>one dedicated repo or </a:t>
            </a:r>
            <a:r>
              <a:rPr lang="en-IN" dirty="0">
                <a:solidFill>
                  <a:schemeClr val="accent4"/>
                </a:solidFill>
              </a:rPr>
              <a:t>VC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4F3075-4E3D-41DE-82B6-0CE6214A6E4E}"/>
              </a:ext>
            </a:extLst>
          </p:cNvPr>
          <p:cNvGrpSpPr/>
          <p:nvPr/>
        </p:nvGrpSpPr>
        <p:grpSpPr>
          <a:xfrm>
            <a:off x="9325540" y="967740"/>
            <a:ext cx="942601" cy="942601"/>
            <a:chOff x="4702273" y="2912065"/>
            <a:chExt cx="1201281" cy="1201281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0D8AEE5-974F-4183-A656-25B730FBEA42}"/>
                </a:ext>
              </a:extLst>
            </p:cNvPr>
            <p:cNvSpPr/>
            <p:nvPr/>
          </p:nvSpPr>
          <p:spPr>
            <a:xfrm>
              <a:off x="4702273" y="2912065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9451C250-0F04-44E2-971F-96C8DE5E3F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3" t="20544" r="6909" b="14361"/>
            <a:stretch/>
          </p:blipFill>
          <p:spPr>
            <a:xfrm>
              <a:off x="4815894" y="3048893"/>
              <a:ext cx="974038" cy="887693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ACACC2-433F-4C55-B89F-FC73E6FEF3FD}"/>
              </a:ext>
            </a:extLst>
          </p:cNvPr>
          <p:cNvGrpSpPr/>
          <p:nvPr/>
        </p:nvGrpSpPr>
        <p:grpSpPr>
          <a:xfrm>
            <a:off x="10376412" y="1007492"/>
            <a:ext cx="942601" cy="942601"/>
            <a:chOff x="6987323" y="2945119"/>
            <a:chExt cx="1201281" cy="1201281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47B3EB1-E4F8-4C04-A10A-AFC0E311EAE1}"/>
                </a:ext>
              </a:extLst>
            </p:cNvPr>
            <p:cNvSpPr/>
            <p:nvPr/>
          </p:nvSpPr>
          <p:spPr>
            <a:xfrm>
              <a:off x="6987323" y="2945119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0470BE8-6E5B-4088-BDE9-29F1FDFA8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632" t="16079" r="28770" b="13573"/>
            <a:stretch/>
          </p:blipFill>
          <p:spPr>
            <a:xfrm>
              <a:off x="7209754" y="3099104"/>
              <a:ext cx="773327" cy="893310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02BC9FB-E55A-4DB1-868A-33B525B8B5EA}"/>
              </a:ext>
            </a:extLst>
          </p:cNvPr>
          <p:cNvGrpSpPr/>
          <p:nvPr/>
        </p:nvGrpSpPr>
        <p:grpSpPr>
          <a:xfrm>
            <a:off x="9220200" y="3477189"/>
            <a:ext cx="922682" cy="922682"/>
            <a:chOff x="8790283" y="2903132"/>
            <a:chExt cx="1201281" cy="120128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48D00A6-15CA-425F-BEC3-63496D594E87}"/>
                </a:ext>
              </a:extLst>
            </p:cNvPr>
            <p:cNvSpPr/>
            <p:nvPr/>
          </p:nvSpPr>
          <p:spPr>
            <a:xfrm>
              <a:off x="8790283" y="2903132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37EE82C-7756-4DEC-9973-08473A0F63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59" t="14944" r="11435" b="13468"/>
            <a:stretch/>
          </p:blipFill>
          <p:spPr>
            <a:xfrm>
              <a:off x="8936617" y="3119051"/>
              <a:ext cx="908611" cy="769442"/>
            </a:xfrm>
            <a:prstGeom prst="rect">
              <a:avLst/>
            </a:prstGeom>
          </p:spPr>
        </p:pic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BCFC8193-900C-4396-8AA0-FA31460E9E90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7693984" y="1449014"/>
            <a:ext cx="1228075" cy="1072102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B038BD9-049E-40D0-BF97-9637CCA67632}"/>
              </a:ext>
            </a:extLst>
          </p:cNvPr>
          <p:cNvCxnSpPr>
            <a:cxnSpLocks/>
          </p:cNvCxnSpPr>
          <p:nvPr/>
        </p:nvCxnSpPr>
        <p:spPr>
          <a:xfrm>
            <a:off x="7686024" y="2530429"/>
            <a:ext cx="1363318" cy="1467041"/>
          </a:xfrm>
          <a:prstGeom prst="bentConnector3">
            <a:avLst>
              <a:gd name="adj1" fmla="val 44677"/>
            </a:avLst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3815BA48-CF36-441E-81D2-C2639BA20B76}"/>
              </a:ext>
            </a:extLst>
          </p:cNvPr>
          <p:cNvSpPr txBox="1"/>
          <p:nvPr/>
        </p:nvSpPr>
        <p:spPr>
          <a:xfrm>
            <a:off x="8679184" y="4608425"/>
            <a:ext cx="31517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4"/>
                </a:solidFill>
              </a:rPr>
              <a:t>Centralized VCS like </a:t>
            </a:r>
            <a:r>
              <a:rPr lang="en-IN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ubversion</a:t>
            </a:r>
            <a:r>
              <a:rPr lang="en-IN" dirty="0">
                <a:solidFill>
                  <a:schemeClr val="accent4"/>
                </a:solidFill>
              </a:rPr>
              <a:t> 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dirty="0">
                <a:solidFill>
                  <a:schemeClr val="accent4"/>
                </a:solidFill>
              </a:rPr>
              <a:t>there should be single repo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C12D63C-59B9-4C27-9964-E2AA8A606FB8}"/>
              </a:ext>
            </a:extLst>
          </p:cNvPr>
          <p:cNvSpPr txBox="1"/>
          <p:nvPr/>
        </p:nvSpPr>
        <p:spPr>
          <a:xfrm>
            <a:off x="8701027" y="1992725"/>
            <a:ext cx="35741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4"/>
                </a:solidFill>
              </a:rPr>
              <a:t>Decentralized VCS like </a:t>
            </a:r>
            <a:r>
              <a:rPr lang="en-IN" dirty="0">
                <a:solidFill>
                  <a:srgbClr val="FF0000"/>
                </a:solidFill>
              </a:rPr>
              <a:t>Git/</a:t>
            </a: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Mercurial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dirty="0">
                <a:solidFill>
                  <a:schemeClr val="accent4"/>
                </a:solidFill>
              </a:rPr>
              <a:t>there should set of repo with single 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b="1" dirty="0">
                <a:solidFill>
                  <a:schemeClr val="accent4"/>
                </a:solidFill>
              </a:rPr>
              <a:t>root</a:t>
            </a:r>
            <a:r>
              <a:rPr lang="en-IN" dirty="0">
                <a:solidFill>
                  <a:schemeClr val="accent4"/>
                </a:solidFill>
              </a:rPr>
              <a:t> commi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5EE9FCF-2EA5-42C5-A94A-15418884A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2162493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A1C1B94B-7DFC-4EA8-8599-2392CBF72FF3}"/>
              </a:ext>
            </a:extLst>
          </p:cNvPr>
          <p:cNvGrpSpPr/>
          <p:nvPr/>
        </p:nvGrpSpPr>
        <p:grpSpPr>
          <a:xfrm>
            <a:off x="2600655" y="3510761"/>
            <a:ext cx="3093837" cy="1977121"/>
            <a:chOff x="2671988" y="3332302"/>
            <a:chExt cx="3314928" cy="2118410"/>
          </a:xfrm>
        </p:grpSpPr>
        <p:graphicFrame>
          <p:nvGraphicFramePr>
            <p:cNvPr id="1028" name="Diagram 1027">
              <a:extLst>
                <a:ext uri="{FF2B5EF4-FFF2-40B4-BE49-F238E27FC236}">
                  <a16:creationId xmlns:a16="http://schemas.microsoft.com/office/drawing/2014/main" id="{CABAEADB-966F-421A-81A0-8A390F2BFFCF}"/>
                </a:ext>
              </a:extLst>
            </p:cNvPr>
            <p:cNvGraphicFramePr/>
            <p:nvPr/>
          </p:nvGraphicFramePr>
          <p:xfrm>
            <a:off x="2671988" y="3379221"/>
            <a:ext cx="3314928" cy="20145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2" r:lo="rId33" r:qs="rId34" r:cs="rId35"/>
            </a:graphicData>
          </a:graphic>
        </p:graphicFrame>
        <p:pic>
          <p:nvPicPr>
            <p:cNvPr id="3076" name="Picture 4">
              <a:extLst>
                <a:ext uri="{FF2B5EF4-FFF2-40B4-BE49-F238E27FC236}">
                  <a16:creationId xmlns:a16="http://schemas.microsoft.com/office/drawing/2014/main" id="{6B77A159-B851-46F9-BCCD-BF7186380D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8947" y="3332302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>
              <a:extLst>
                <a:ext uri="{FF2B5EF4-FFF2-40B4-BE49-F238E27FC236}">
                  <a16:creationId xmlns:a16="http://schemas.microsoft.com/office/drawing/2014/main" id="{B55A4284-023E-4AB0-8653-DF7A6C6116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199" y="405107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29488403-5FFF-4BD8-8831-0B2A579D9D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251" y="479348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0" name="TextBox 1029">
            <a:extLst>
              <a:ext uri="{FF2B5EF4-FFF2-40B4-BE49-F238E27FC236}">
                <a16:creationId xmlns:a16="http://schemas.microsoft.com/office/drawing/2014/main" id="{21E8FE47-3C8B-4257-A120-2FF962835F2F}"/>
              </a:ext>
            </a:extLst>
          </p:cNvPr>
          <p:cNvSpPr txBox="1"/>
          <p:nvPr/>
        </p:nvSpPr>
        <p:spPr>
          <a:xfrm>
            <a:off x="4120937" y="3141429"/>
            <a:ext cx="3713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i="1" dirty="0">
                <a:solidFill>
                  <a:srgbClr val="B536DB"/>
                </a:solidFill>
              </a:rPr>
              <a:t>A Codebase can have multiple Deploy</a:t>
            </a:r>
          </a:p>
        </p:txBody>
      </p:sp>
    </p:spTree>
    <p:extLst>
      <p:ext uri="{BB962C8B-B14F-4D97-AF65-F5344CB8AC3E}">
        <p14:creationId xmlns:p14="http://schemas.microsoft.com/office/powerpoint/2010/main" val="1219681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8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07407E-6 L -8.33333E-7 -0.20533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0.00066 0.2294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11458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8" dur="1500"/>
                                        <p:tgtEl>
                                          <p:spTgt spid="10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3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85" grpId="0" animBg="1"/>
      <p:bldP spid="90" grpId="0"/>
      <p:bldP spid="90" grpId="1"/>
      <p:bldP spid="90" grpId="2"/>
      <p:bldP spid="90" grpId="3"/>
      <p:bldP spid="92" grpId="0"/>
      <p:bldP spid="76" grpId="0" animBg="1"/>
      <p:bldP spid="16" grpId="0"/>
      <p:bldP spid="16" grpId="1"/>
      <p:bldP spid="17" grpId="0"/>
      <p:bldP spid="49" grpId="0"/>
      <p:bldP spid="9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2475612" y="5549877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9458389" cy="1013078"/>
            <a:chOff x="2330824" y="5725146"/>
            <a:chExt cx="9210539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0227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US" dirty="0">
                  <a:solidFill>
                    <a:schemeClr val="bg2"/>
                  </a:solidFill>
                </a:rPr>
                <a:t>A twelve-factor app never relies on implicit existence of system-wide packages</a:t>
              </a:r>
              <a:endParaRPr lang="en-IN" dirty="0">
                <a:solidFill>
                  <a:schemeClr val="bg2"/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0DD9E0C-A406-4293-82CB-63EEF30C69EA}"/>
              </a:ext>
            </a:extLst>
          </p:cNvPr>
          <p:cNvSpPr/>
          <p:nvPr/>
        </p:nvSpPr>
        <p:spPr>
          <a:xfrm>
            <a:off x="4419600" y="1064455"/>
            <a:ext cx="1522496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A36BDB3-2BCD-4C68-ADDD-F41C9414949F}"/>
              </a:ext>
            </a:extLst>
          </p:cNvPr>
          <p:cNvSpPr/>
          <p:nvPr/>
        </p:nvSpPr>
        <p:spPr>
          <a:xfrm>
            <a:off x="4419361" y="1024187"/>
            <a:ext cx="1362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Sansation Light" panose="02000000000000000000" pitchFamily="2" charset="0"/>
              </a:rPr>
              <a:t>Dependency</a:t>
            </a:r>
            <a:endParaRPr lang="en-IN" dirty="0">
              <a:solidFill>
                <a:schemeClr val="accent4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4E069A-D5F7-4FE9-88D8-8BC15B0BA381}"/>
              </a:ext>
            </a:extLst>
          </p:cNvPr>
          <p:cNvSpPr txBox="1"/>
          <p:nvPr/>
        </p:nvSpPr>
        <p:spPr>
          <a:xfrm>
            <a:off x="5637212" y="1809109"/>
            <a:ext cx="6609534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Declaration Manife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This file declares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sz="1400" i="1" dirty="0">
                <a:solidFill>
                  <a:schemeClr val="bg1"/>
                </a:solidFill>
              </a:rPr>
              <a:t>all dependencies, completely and exactly whatever required to r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The manifest file is appropriate to the development langu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Also specify the version which need to leverage</a:t>
            </a:r>
          </a:p>
          <a:p>
            <a:r>
              <a:rPr lang="en-US" sz="1400" i="1" dirty="0">
                <a:solidFill>
                  <a:schemeClr val="bg1"/>
                </a:solidFill>
              </a:rPr>
              <a:t> </a:t>
            </a:r>
          </a:p>
          <a:p>
            <a:endParaRPr lang="en-US" sz="1400" i="1" dirty="0">
              <a:solidFill>
                <a:schemeClr val="bg1"/>
              </a:solidFill>
            </a:endParaRPr>
          </a:p>
          <a:p>
            <a:r>
              <a:rPr lang="en-US" sz="1400" i="1" dirty="0">
                <a:solidFill>
                  <a:schemeClr val="bg1"/>
                </a:solidFill>
              </a:rPr>
              <a:t> </a:t>
            </a:r>
            <a:endParaRPr lang="en-IN" sz="1400" i="1" dirty="0">
              <a:solidFill>
                <a:schemeClr val="bg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3C4980-7D21-4A9D-872C-2106449767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9" t="7294" r="63408" b="13764"/>
          <a:stretch/>
        </p:blipFill>
        <p:spPr bwMode="auto">
          <a:xfrm>
            <a:off x="3033567" y="1563021"/>
            <a:ext cx="983890" cy="112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1DA946-06C2-4F65-B9BD-39561E1CB80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600" y="2731776"/>
            <a:ext cx="1143049" cy="85728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6285D46-E06D-49E0-BBE5-F2C3600B3DC0}"/>
              </a:ext>
            </a:extLst>
          </p:cNvPr>
          <p:cNvGrpSpPr/>
          <p:nvPr/>
        </p:nvGrpSpPr>
        <p:grpSpPr>
          <a:xfrm>
            <a:off x="2179617" y="4592316"/>
            <a:ext cx="1218511" cy="655723"/>
            <a:chOff x="4622489" y="4068892"/>
            <a:chExt cx="1400821" cy="75383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56AD965-9B7D-4488-9452-FA2004B56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2489" y="4068892"/>
              <a:ext cx="1319607" cy="333783"/>
            </a:xfrm>
            <a:prstGeom prst="rect">
              <a:avLst/>
            </a:prstGeom>
          </p:spPr>
        </p:pic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BC87C3C0-9A76-4B6D-8BF2-8408EEBB27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4628008" y="4362361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AE43183-0A7C-4F73-A9DE-1B3B5C2E296D}"/>
                </a:ext>
              </a:extLst>
            </p:cNvPr>
            <p:cNvSpPr txBox="1"/>
            <p:nvPr/>
          </p:nvSpPr>
          <p:spPr>
            <a:xfrm>
              <a:off x="5020905" y="4393701"/>
              <a:ext cx="10024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rgbClr val="89FFF7"/>
                  </a:solidFill>
                </a:rPr>
                <a:t>pom.xml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3968856-9E1A-4666-93A2-90203D8710EE}"/>
              </a:ext>
            </a:extLst>
          </p:cNvPr>
          <p:cNvGrpSpPr/>
          <p:nvPr/>
        </p:nvGrpSpPr>
        <p:grpSpPr>
          <a:xfrm>
            <a:off x="4452736" y="4650521"/>
            <a:ext cx="1454114" cy="710561"/>
            <a:chOff x="6934200" y="3955420"/>
            <a:chExt cx="1752600" cy="856418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C3E7039-3675-4308-8647-E74661098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4200" y="3955420"/>
              <a:ext cx="1600200" cy="447256"/>
            </a:xfrm>
            <a:prstGeom prst="rect">
              <a:avLst/>
            </a:prstGeom>
          </p:spPr>
        </p:pic>
        <p:pic>
          <p:nvPicPr>
            <p:cNvPr id="84" name="Picture 2">
              <a:extLst>
                <a:ext uri="{FF2B5EF4-FFF2-40B4-BE49-F238E27FC236}">
                  <a16:creationId xmlns:a16="http://schemas.microsoft.com/office/drawing/2014/main" id="{9F41A390-0703-498F-8D7F-6437C02E6F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6957568" y="4351477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FD673A-9082-4D68-9972-5AEFD5767511}"/>
                </a:ext>
              </a:extLst>
            </p:cNvPr>
            <p:cNvSpPr txBox="1"/>
            <p:nvPr/>
          </p:nvSpPr>
          <p:spPr>
            <a:xfrm>
              <a:off x="7366169" y="4362361"/>
              <a:ext cx="132063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err="1">
                  <a:solidFill>
                    <a:srgbClr val="89FFF7"/>
                  </a:solidFill>
                </a:rPr>
                <a:t>build.gradle</a:t>
              </a:r>
              <a:endParaRPr lang="en-IN" sz="1400" dirty="0">
                <a:solidFill>
                  <a:srgbClr val="89FFF7"/>
                </a:solidFill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8F39231-7900-4825-8DF1-3054EB293454}"/>
              </a:ext>
            </a:extLst>
          </p:cNvPr>
          <p:cNvCxnSpPr>
            <a:stCxn id="18" idx="2"/>
            <a:endCxn id="32" idx="0"/>
          </p:cNvCxnSpPr>
          <p:nvPr/>
        </p:nvCxnSpPr>
        <p:spPr>
          <a:xfrm flipH="1">
            <a:off x="2753551" y="3589063"/>
            <a:ext cx="1094574" cy="10032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8852F1B-2C57-4254-95A7-5DB3B21D6B13}"/>
              </a:ext>
            </a:extLst>
          </p:cNvPr>
          <p:cNvCxnSpPr>
            <a:stCxn id="18" idx="2"/>
            <a:endCxn id="20" idx="0"/>
          </p:cNvCxnSpPr>
          <p:nvPr/>
        </p:nvCxnSpPr>
        <p:spPr>
          <a:xfrm>
            <a:off x="3848125" y="3589063"/>
            <a:ext cx="1268446" cy="106145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D3AFE50-FE2D-442B-B0FE-70C5609395BA}"/>
              </a:ext>
            </a:extLst>
          </p:cNvPr>
          <p:cNvGrpSpPr/>
          <p:nvPr/>
        </p:nvGrpSpPr>
        <p:grpSpPr>
          <a:xfrm>
            <a:off x="2033069" y="5648979"/>
            <a:ext cx="10243039" cy="959496"/>
            <a:chOff x="2033069" y="5648979"/>
            <a:chExt cx="10243039" cy="959496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B5692EFC-D765-4595-8C9C-9FE12148E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069" y="5648979"/>
              <a:ext cx="914449" cy="959496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8B20ACB-2AB0-4972-B3E9-A8A14930C6E5}"/>
                </a:ext>
              </a:extLst>
            </p:cNvPr>
            <p:cNvSpPr txBox="1"/>
            <p:nvPr/>
          </p:nvSpPr>
          <p:spPr>
            <a:xfrm>
              <a:off x="2753550" y="5768385"/>
              <a:ext cx="952255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FF0000"/>
                  </a:solidFill>
                </a:rPr>
                <a:t>Bundler for </a:t>
              </a:r>
              <a:r>
                <a:rPr lang="en-US" sz="1400" b="1" dirty="0">
                  <a:solidFill>
                    <a:srgbClr val="FF0000"/>
                  </a:solidFill>
                </a:rPr>
                <a:t>Ruby</a:t>
              </a:r>
              <a:r>
                <a:rPr lang="en-US" sz="1400" dirty="0">
                  <a:solidFill>
                    <a:srgbClr val="FF0000"/>
                  </a:solidFill>
                </a:rPr>
                <a:t> offers the </a:t>
              </a:r>
              <a:r>
                <a:rPr lang="en-US" sz="1400" b="1" dirty="0" err="1">
                  <a:solidFill>
                    <a:srgbClr val="FF0000"/>
                  </a:solidFill>
                </a:rPr>
                <a:t>Gemfile</a:t>
              </a:r>
              <a:r>
                <a:rPr lang="en-US" sz="1400" dirty="0">
                  <a:solidFill>
                    <a:srgbClr val="FF0000"/>
                  </a:solidFill>
                </a:rPr>
                <a:t> manifest format for dependency declaration and bundle exec for dependency isolation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B0F0"/>
                  </a:solidFill>
                </a:rPr>
                <a:t>Python there are two separate tools for these steps – Pip is used for declaration and </a:t>
              </a:r>
              <a:r>
                <a:rPr lang="en-US" sz="1400" dirty="0" err="1">
                  <a:solidFill>
                    <a:srgbClr val="00B0F0"/>
                  </a:solidFill>
                </a:rPr>
                <a:t>Virtualenv</a:t>
              </a:r>
              <a:r>
                <a:rPr lang="en-US" sz="1400" dirty="0">
                  <a:solidFill>
                    <a:srgbClr val="00B0F0"/>
                  </a:solidFill>
                </a:rPr>
                <a:t> for isolation.</a:t>
              </a:r>
              <a:r>
                <a:rPr lang="en-US" sz="1400" dirty="0">
                  <a:solidFill>
                    <a:srgbClr val="FF0000"/>
                  </a:solidFill>
                </a:rPr>
                <a:t>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66FF33"/>
                  </a:solidFill>
                </a:rPr>
                <a:t>C has </a:t>
              </a:r>
              <a:r>
                <a:rPr lang="en-US" sz="1400" b="1" dirty="0" err="1">
                  <a:solidFill>
                    <a:srgbClr val="66FF33"/>
                  </a:solidFill>
                </a:rPr>
                <a:t>Autoconf</a:t>
              </a:r>
              <a:r>
                <a:rPr lang="en-US" sz="1400" dirty="0">
                  <a:solidFill>
                    <a:srgbClr val="66FF33"/>
                  </a:solidFill>
                </a:rPr>
                <a:t> for dependency declaration, and static linking can provide dependency isolation. </a:t>
              </a:r>
              <a:endParaRPr lang="en-IN" sz="1400" dirty="0">
                <a:solidFill>
                  <a:srgbClr val="66FF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FAA4BC-0A70-4DB4-8374-63323239DEC8}"/>
              </a:ext>
            </a:extLst>
          </p:cNvPr>
          <p:cNvGrpSpPr/>
          <p:nvPr/>
        </p:nvGrpSpPr>
        <p:grpSpPr>
          <a:xfrm>
            <a:off x="5561846" y="3153342"/>
            <a:ext cx="6751606" cy="1419225"/>
            <a:chOff x="5561846" y="3153342"/>
            <a:chExt cx="6751606" cy="1419225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776EA2F1-8F4F-445F-8711-D5F8D82BE6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1846" y="3153342"/>
              <a:ext cx="1419225" cy="1419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30B5D44-F8B6-4A9D-9BAC-E61290ACB302}"/>
                </a:ext>
              </a:extLst>
            </p:cNvPr>
            <p:cNvSpPr txBox="1"/>
            <p:nvPr/>
          </p:nvSpPr>
          <p:spPr>
            <a:xfrm>
              <a:off x="6857471" y="3429000"/>
              <a:ext cx="5455981" cy="984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rgbClr val="66FF33"/>
                  </a:solidFill>
                </a:rPr>
                <a:t>Dependency Isolation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ensure no implicit dependencies “leak in” from the surrounding system. 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The full and explicit dependency specification is applied uniformly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 to both production and development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51132B-F310-4063-9BE7-FC06EBBB85F8}"/>
              </a:ext>
            </a:extLst>
          </p:cNvPr>
          <p:cNvGrpSpPr/>
          <p:nvPr/>
        </p:nvGrpSpPr>
        <p:grpSpPr>
          <a:xfrm>
            <a:off x="7587799" y="4338414"/>
            <a:ext cx="1487996" cy="1091134"/>
            <a:chOff x="7587799" y="4338414"/>
            <a:chExt cx="1487996" cy="1091134"/>
          </a:xfrm>
        </p:grpSpPr>
        <p:pic>
          <p:nvPicPr>
            <p:cNvPr id="94" name="Picture 6">
              <a:extLst>
                <a:ext uri="{FF2B5EF4-FFF2-40B4-BE49-F238E27FC236}">
                  <a16:creationId xmlns:a16="http://schemas.microsoft.com/office/drawing/2014/main" id="{EB28834E-1196-4815-B18A-F6D6796459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FAAEA39-7CE4-4C72-BE4A-CD9068A478C6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00B0F0"/>
                  </a:solidFill>
                </a:rPr>
                <a:t>App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358FA49-1FCE-4510-92F3-56449D78EC1C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00B0F0"/>
                  </a:solidFill>
                </a:rPr>
                <a:t>Version 1.1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0F04828-7B3F-4B3E-958A-9A11576B92F7}"/>
              </a:ext>
            </a:extLst>
          </p:cNvPr>
          <p:cNvGrpSpPr/>
          <p:nvPr/>
        </p:nvGrpSpPr>
        <p:grpSpPr>
          <a:xfrm>
            <a:off x="9080177" y="4327060"/>
            <a:ext cx="1487996" cy="1091134"/>
            <a:chOff x="7587799" y="4338414"/>
            <a:chExt cx="1487996" cy="1091134"/>
          </a:xfrm>
        </p:grpSpPr>
        <p:pic>
          <p:nvPicPr>
            <p:cNvPr id="98" name="Picture 6">
              <a:extLst>
                <a:ext uri="{FF2B5EF4-FFF2-40B4-BE49-F238E27FC236}">
                  <a16:creationId xmlns:a16="http://schemas.microsoft.com/office/drawing/2014/main" id="{70852687-6F5F-4793-B479-282BF58191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3094F1C-2442-40F1-9CF2-FAC3235732E0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92D050"/>
                  </a:solidFill>
                </a:rPr>
                <a:t>App2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A98FCC1-3951-4E13-9278-81FE15621863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92D050"/>
                  </a:solidFill>
                </a:rPr>
                <a:t>Version 2.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C50B7FE-EDC0-4FB5-B573-E6AA5EA46724}"/>
              </a:ext>
            </a:extLst>
          </p:cNvPr>
          <p:cNvGrpSpPr/>
          <p:nvPr/>
        </p:nvGrpSpPr>
        <p:grpSpPr>
          <a:xfrm>
            <a:off x="10572555" y="4315706"/>
            <a:ext cx="1487996" cy="1091134"/>
            <a:chOff x="7587799" y="4338414"/>
            <a:chExt cx="1487996" cy="1091134"/>
          </a:xfrm>
        </p:grpSpPr>
        <p:pic>
          <p:nvPicPr>
            <p:cNvPr id="102" name="Picture 6">
              <a:extLst>
                <a:ext uri="{FF2B5EF4-FFF2-40B4-BE49-F238E27FC236}">
                  <a16:creationId xmlns:a16="http://schemas.microsoft.com/office/drawing/2014/main" id="{A98AA3BD-9E21-4267-8989-A24B7DC0F0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664D301-E521-4E16-8805-1FCC1F04B877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FFC000"/>
                  </a:solidFill>
                </a:rPr>
                <a:t>App3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6C48C05C-33F2-4A82-87D9-F74CED685E19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FFC000"/>
                  </a:solidFill>
                </a:rPr>
                <a:t>Version 1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01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0.00208 L -0.70143 -0.38727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4.07407E-6 L -2.08333E-6 0.1129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2.59259E-6 L -4.375E-6 -0.18889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5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11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4" grpId="0" build="allAtOnce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2475612" y="5549877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9458389" cy="1013078"/>
            <a:chOff x="2330824" y="5725146"/>
            <a:chExt cx="9210539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0227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US" dirty="0">
                  <a:solidFill>
                    <a:schemeClr val="bg2"/>
                  </a:solidFill>
                </a:rPr>
                <a:t>A twelve-factor app never relies on implicit existence of system-wide packages</a:t>
              </a:r>
              <a:endParaRPr lang="en-IN" dirty="0">
                <a:solidFill>
                  <a:schemeClr val="bg2"/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285D46-E06D-49E0-BBE5-F2C3600B3DC0}"/>
              </a:ext>
            </a:extLst>
          </p:cNvPr>
          <p:cNvGrpSpPr/>
          <p:nvPr/>
        </p:nvGrpSpPr>
        <p:grpSpPr>
          <a:xfrm>
            <a:off x="2179617" y="4592316"/>
            <a:ext cx="1218511" cy="655723"/>
            <a:chOff x="4622489" y="4068892"/>
            <a:chExt cx="1400821" cy="75383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56AD965-9B7D-4488-9452-FA2004B56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2489" y="4068892"/>
              <a:ext cx="1319607" cy="333783"/>
            </a:xfrm>
            <a:prstGeom prst="rect">
              <a:avLst/>
            </a:prstGeom>
          </p:spPr>
        </p:pic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BC87C3C0-9A76-4B6D-8BF2-8408EEBB27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4628008" y="4362361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AE43183-0A7C-4F73-A9DE-1B3B5C2E296D}"/>
                </a:ext>
              </a:extLst>
            </p:cNvPr>
            <p:cNvSpPr txBox="1"/>
            <p:nvPr/>
          </p:nvSpPr>
          <p:spPr>
            <a:xfrm>
              <a:off x="5020905" y="4393701"/>
              <a:ext cx="10024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rgbClr val="89FFF7"/>
                  </a:solidFill>
                </a:rPr>
                <a:t>pom.x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516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0.00208 L -0.70143 -0.38727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2.59259E-6 L -4.375E-6 -0.18889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6750" y="3504197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0FFC7DE-A723-490B-BDBA-C1F52D3CA3FE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98145" y="3279208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25312" y="2973148"/>
            <a:ext cx="261588" cy="311822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A5FF0F59-C9D8-4380-8C59-E13DCF39DE70}"/>
              </a:ext>
            </a:extLst>
          </p:cNvPr>
          <p:cNvSpPr>
            <a:spLocks noChangeAspect="1"/>
          </p:cNvSpPr>
          <p:nvPr/>
        </p:nvSpPr>
        <p:spPr>
          <a:xfrm>
            <a:off x="1676400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94C4B3-D7EA-4F48-BA1E-A3B49687ED9B}"/>
              </a:ext>
            </a:extLst>
          </p:cNvPr>
          <p:cNvSpPr/>
          <p:nvPr/>
        </p:nvSpPr>
        <p:spPr>
          <a:xfrm>
            <a:off x="2475612" y="175313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9FFC3"/>
                </a:solidFill>
              </a:rPr>
              <a:t>There should be strict separation of config from code. </a:t>
            </a:r>
            <a:r>
              <a:rPr lang="en-US" i="1" dirty="0">
                <a:solidFill>
                  <a:srgbClr val="19FFC3"/>
                </a:solidFill>
              </a:rPr>
              <a:t>Reason, Config varies substantially across deploys, code does not</a:t>
            </a:r>
            <a:endParaRPr lang="en-IN" i="1" dirty="0">
              <a:solidFill>
                <a:srgbClr val="19FFC3"/>
              </a:solidFill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CF9BA7BB-D935-46C0-8002-F3327094C3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366494"/>
              </p:ext>
            </p:extLst>
          </p:nvPr>
        </p:nvGraphicFramePr>
        <p:xfrm>
          <a:off x="2680675" y="3327786"/>
          <a:ext cx="3438856" cy="2058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88" name="Rectangle 87">
            <a:extLst>
              <a:ext uri="{FF2B5EF4-FFF2-40B4-BE49-F238E27FC236}">
                <a16:creationId xmlns:a16="http://schemas.microsoft.com/office/drawing/2014/main" id="{F1631D13-E237-49B7-816A-792833711ED2}"/>
              </a:ext>
            </a:extLst>
          </p:cNvPr>
          <p:cNvSpPr/>
          <p:nvPr/>
        </p:nvSpPr>
        <p:spPr>
          <a:xfrm>
            <a:off x="2274635" y="1995244"/>
            <a:ext cx="4126165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A1C4FDC-B0AA-4889-9964-30CE697A293B}"/>
              </a:ext>
            </a:extLst>
          </p:cNvPr>
          <p:cNvCxnSpPr>
            <a:stCxn id="88" idx="2"/>
          </p:cNvCxnSpPr>
          <p:nvPr/>
        </p:nvCxnSpPr>
        <p:spPr>
          <a:xfrm>
            <a:off x="4337718" y="2414355"/>
            <a:ext cx="5682" cy="7924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130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2.5E-6 -0.38333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16" grpId="0"/>
      <p:bldGraphic spid="19" grpId="0">
        <p:bldAsOne/>
      </p:bldGraphic>
      <p:bldP spid="8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24168" y="3502507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0FFC7DE-A723-490B-BDBA-C1F52D3CA3FE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98145" y="3279208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41076" y="2966185"/>
            <a:ext cx="257492" cy="306940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A5FF0F59-C9D8-4380-8C59-E13DCF39DE70}"/>
              </a:ext>
            </a:extLst>
          </p:cNvPr>
          <p:cNvSpPr>
            <a:spLocks noChangeAspect="1"/>
          </p:cNvSpPr>
          <p:nvPr/>
        </p:nvSpPr>
        <p:spPr>
          <a:xfrm>
            <a:off x="1676400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8FC84F1-10FB-4325-AC52-2C89280C2B8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379" y="5551723"/>
            <a:ext cx="1301455" cy="130145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E53E54-CB86-4F9B-B3E5-CF8059683081}"/>
              </a:ext>
            </a:extLst>
          </p:cNvPr>
          <p:cNvSpPr txBox="1"/>
          <p:nvPr/>
        </p:nvSpPr>
        <p:spPr>
          <a:xfrm>
            <a:off x="2896966" y="5800612"/>
            <a:ext cx="24356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  <a:latin typeface="Brush Script MT" panose="03060802040406070304" pitchFamily="66" charset="0"/>
              </a:rPr>
              <a:t>Should all configs externalize?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A8197EF-DAD7-4624-B822-0EFB99149CB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5635915"/>
            <a:ext cx="1963329" cy="1218619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BD14D89B-777C-4D24-AB3C-F9B82D0026A6}"/>
              </a:ext>
            </a:extLst>
          </p:cNvPr>
          <p:cNvSpPr txBox="1"/>
          <p:nvPr/>
        </p:nvSpPr>
        <p:spPr>
          <a:xfrm>
            <a:off x="3657600" y="6202451"/>
            <a:ext cx="4682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accent2"/>
                </a:solidFill>
                <a:latin typeface="Brush Script MT" panose="03060802040406070304" pitchFamily="66" charset="0"/>
              </a:rPr>
              <a:t>Essentialize? –No,</a:t>
            </a:r>
            <a: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  <a:t> type of config which does not </a:t>
            </a:r>
            <a:b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</a:br>
            <a: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  <a:t>vary between deploys, Please make that part of code.</a:t>
            </a:r>
            <a:r>
              <a:rPr lang="en-IN" dirty="0">
                <a:solidFill>
                  <a:schemeClr val="accent2"/>
                </a:solidFill>
                <a:latin typeface="Brush Script MT" panose="03060802040406070304" pitchFamily="66" charset="0"/>
              </a:rPr>
              <a:t> </a:t>
            </a:r>
          </a:p>
        </p:txBody>
      </p:sp>
      <p:sp>
        <p:nvSpPr>
          <p:cNvPr id="84" name="Callout: Bent Line with Accent Bar 83">
            <a:extLst>
              <a:ext uri="{FF2B5EF4-FFF2-40B4-BE49-F238E27FC236}">
                <a16:creationId xmlns:a16="http://schemas.microsoft.com/office/drawing/2014/main" id="{0D0278F9-A4D1-45B0-8278-0185C491FE01}"/>
              </a:ext>
            </a:extLst>
          </p:cNvPr>
          <p:cNvSpPr>
            <a:spLocks noChangeAspect="1"/>
          </p:cNvSpPr>
          <p:nvPr/>
        </p:nvSpPr>
        <p:spPr>
          <a:xfrm>
            <a:off x="1686479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795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2.5E-6 -0.38333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8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92</TotalTime>
  <Words>2070</Words>
  <Application>Microsoft Office PowerPoint</Application>
  <PresentationFormat>Widescreen</PresentationFormat>
  <Paragraphs>340</Paragraphs>
  <Slides>27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Aaargh</vt:lpstr>
      <vt:lpstr>Angsana New</vt:lpstr>
      <vt:lpstr>Arial</vt:lpstr>
      <vt:lpstr>Brush Script MT</vt:lpstr>
      <vt:lpstr>Calibri</vt:lpstr>
      <vt:lpstr>Calibri Light</vt:lpstr>
      <vt:lpstr>Comic Sans MS</vt:lpstr>
      <vt:lpstr>Eras Demi ITC</vt:lpstr>
      <vt:lpstr>Gotham</vt:lpstr>
      <vt:lpstr>HK Grotesk Light</vt:lpstr>
      <vt:lpstr>Sansation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Mukherjee, Ritam (GE Healthcare)</cp:lastModifiedBy>
  <cp:revision>230</cp:revision>
  <dcterms:created xsi:type="dcterms:W3CDTF">2019-02-22T10:36:45Z</dcterms:created>
  <dcterms:modified xsi:type="dcterms:W3CDTF">2021-06-22T05:24:53Z</dcterms:modified>
</cp:coreProperties>
</file>